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55" r:id="rId2"/>
    <p:sldId id="456" r:id="rId3"/>
    <p:sldId id="504" r:id="rId4"/>
    <p:sldId id="458" r:id="rId5"/>
    <p:sldId id="459" r:id="rId6"/>
    <p:sldId id="506" r:id="rId7"/>
    <p:sldId id="507" r:id="rId8"/>
    <p:sldId id="280" r:id="rId9"/>
    <p:sldId id="405" r:id="rId10"/>
    <p:sldId id="410" r:id="rId11"/>
    <p:sldId id="418" r:id="rId12"/>
    <p:sldId id="411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5561">
          <p15:clr>
            <a:srgbClr val="A4A3A4"/>
          </p15:clr>
        </p15:guide>
        <p15:guide id="6" orient="horz" pos="304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784CAC-3F5B-4CBF-97B1-8F96B55051C4}" v="1" dt="2023-09-16T16:03:53.0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67" autoAdjust="0"/>
    <p:restoredTop sz="94291" autoAdjust="0"/>
  </p:normalViewPr>
  <p:slideViewPr>
    <p:cSldViewPr snapToGrid="0" snapToObjects="1">
      <p:cViewPr varScale="1">
        <p:scale>
          <a:sx n="84" d="100"/>
          <a:sy n="84" d="100"/>
        </p:scale>
        <p:origin x="564" y="64"/>
      </p:cViewPr>
      <p:guideLst>
        <p:guide pos="5561"/>
        <p:guide orient="horz" pos="304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21" d="100"/>
          <a:sy n="121" d="100"/>
        </p:scale>
        <p:origin x="1092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RH (Anna Rabocha)" userId="a5545e76-fda9-4675-921a-595f25aeea74" providerId="ADAL" clId="{FAAF5D9B-F4DE-486C-9E36-E33F5E8E0018}"/>
    <pc:docChg chg="addSld modSld sldOrd">
      <pc:chgData name="NARH (Anna Rabocha)" userId="a5545e76-fda9-4675-921a-595f25aeea74" providerId="ADAL" clId="{FAAF5D9B-F4DE-486C-9E36-E33F5E8E0018}" dt="2020-04-13T06:56:57.134" v="39" actId="1076"/>
      <pc:docMkLst>
        <pc:docMk/>
      </pc:docMkLst>
    </pc:docChg>
  </pc:docChgLst>
  <pc:docChgLst>
    <pc:chgData name="NARH (Anna Rabocha)" userId="a5545e76-fda9-4675-921a-595f25aeea74" providerId="ADAL" clId="{58784CAC-3F5B-4CBF-97B1-8F96B55051C4}"/>
    <pc:docChg chg="custSel delSld modSld">
      <pc:chgData name="NARH (Anna Rabocha)" userId="a5545e76-fda9-4675-921a-595f25aeea74" providerId="ADAL" clId="{58784CAC-3F5B-4CBF-97B1-8F96B55051C4}" dt="2023-09-16T16:06:16.536" v="178" actId="20577"/>
      <pc:docMkLst>
        <pc:docMk/>
      </pc:docMkLst>
      <pc:sldChg chg="modSp mod">
        <pc:chgData name="NARH (Anna Rabocha)" userId="a5545e76-fda9-4675-921a-595f25aeea74" providerId="ADAL" clId="{58784CAC-3F5B-4CBF-97B1-8F96B55051C4}" dt="2023-09-16T16:06:16.536" v="178" actId="20577"/>
        <pc:sldMkLst>
          <pc:docMk/>
          <pc:sldMk cId="262338442" sldId="280"/>
        </pc:sldMkLst>
        <pc:spChg chg="mod">
          <ac:chgData name="NARH (Anna Rabocha)" userId="a5545e76-fda9-4675-921a-595f25aeea74" providerId="ADAL" clId="{58784CAC-3F5B-4CBF-97B1-8F96B55051C4}" dt="2023-09-16T16:01:37.583" v="137" actId="2711"/>
          <ac:spMkLst>
            <pc:docMk/>
            <pc:sldMk cId="262338442" sldId="280"/>
            <ac:spMk id="2" creationId="{4DB91C7A-AC16-4E58-B949-CE511C5686DD}"/>
          </ac:spMkLst>
        </pc:spChg>
        <pc:spChg chg="mod">
          <ac:chgData name="NARH (Anna Rabocha)" userId="a5545e76-fda9-4675-921a-595f25aeea74" providerId="ADAL" clId="{58784CAC-3F5B-4CBF-97B1-8F96B55051C4}" dt="2023-09-16T16:01:30.246" v="136" actId="2711"/>
          <ac:spMkLst>
            <pc:docMk/>
            <pc:sldMk cId="262338442" sldId="280"/>
            <ac:spMk id="8" creationId="{2FCE0703-64DC-410C-AA79-CF2DEBE0F5D0}"/>
          </ac:spMkLst>
        </pc:spChg>
        <pc:spChg chg="mod">
          <ac:chgData name="NARH (Anna Rabocha)" userId="a5545e76-fda9-4675-921a-595f25aeea74" providerId="ADAL" clId="{58784CAC-3F5B-4CBF-97B1-8F96B55051C4}" dt="2023-09-16T16:06:16.536" v="178" actId="20577"/>
          <ac:spMkLst>
            <pc:docMk/>
            <pc:sldMk cId="262338442" sldId="280"/>
            <ac:spMk id="11" creationId="{B7ADCD01-AEB7-4A78-A1BD-3C0A88D8E458}"/>
          </ac:spMkLst>
        </pc:spChg>
      </pc:sldChg>
      <pc:sldChg chg="modSp mod">
        <pc:chgData name="NARH (Anna Rabocha)" userId="a5545e76-fda9-4675-921a-595f25aeea74" providerId="ADAL" clId="{58784CAC-3F5B-4CBF-97B1-8F96B55051C4}" dt="2023-09-16T16:06:11.155" v="176" actId="20577"/>
        <pc:sldMkLst>
          <pc:docMk/>
          <pc:sldMk cId="72210228" sldId="405"/>
        </pc:sldMkLst>
        <pc:spChg chg="mod">
          <ac:chgData name="NARH (Anna Rabocha)" userId="a5545e76-fda9-4675-921a-595f25aeea74" providerId="ADAL" clId="{58784CAC-3F5B-4CBF-97B1-8F96B55051C4}" dt="2023-09-16T16:05:50.848" v="173" actId="12"/>
          <ac:spMkLst>
            <pc:docMk/>
            <pc:sldMk cId="72210228" sldId="405"/>
            <ac:spMk id="2" creationId="{81656911-1D96-4F96-8D90-CF5CF9B5611D}"/>
          </ac:spMkLst>
        </pc:spChg>
        <pc:spChg chg="mod">
          <ac:chgData name="NARH (Anna Rabocha)" userId="a5545e76-fda9-4675-921a-595f25aeea74" providerId="ADAL" clId="{58784CAC-3F5B-4CBF-97B1-8F96B55051C4}" dt="2023-09-16T16:01:58.707" v="139" actId="20577"/>
          <ac:spMkLst>
            <pc:docMk/>
            <pc:sldMk cId="72210228" sldId="405"/>
            <ac:spMk id="3" creationId="{B4161B9C-41DB-4AB3-A7F2-8DE9FB9F1FCF}"/>
          </ac:spMkLst>
        </pc:spChg>
        <pc:spChg chg="mod">
          <ac:chgData name="NARH (Anna Rabocha)" userId="a5545e76-fda9-4675-921a-595f25aeea74" providerId="ADAL" clId="{58784CAC-3F5B-4CBF-97B1-8F96B55051C4}" dt="2023-09-16T16:06:11.155" v="176" actId="20577"/>
          <ac:spMkLst>
            <pc:docMk/>
            <pc:sldMk cId="72210228" sldId="405"/>
            <ac:spMk id="5" creationId="{03CA07A5-C606-4A46-A8B7-09470866B732}"/>
          </ac:spMkLst>
        </pc:spChg>
        <pc:spChg chg="mod">
          <ac:chgData name="NARH (Anna Rabocha)" userId="a5545e76-fda9-4675-921a-595f25aeea74" providerId="ADAL" clId="{58784CAC-3F5B-4CBF-97B1-8F96B55051C4}" dt="2023-09-16T16:02:18.183" v="141" actId="2711"/>
          <ac:spMkLst>
            <pc:docMk/>
            <pc:sldMk cId="72210228" sldId="405"/>
            <ac:spMk id="8" creationId="{8DA62327-2555-4AAC-B2A0-3FE9A2FD239F}"/>
          </ac:spMkLst>
        </pc:spChg>
      </pc:sldChg>
      <pc:sldChg chg="modSp mod">
        <pc:chgData name="NARH (Anna Rabocha)" userId="a5545e76-fda9-4675-921a-595f25aeea74" providerId="ADAL" clId="{58784CAC-3F5B-4CBF-97B1-8F96B55051C4}" dt="2023-09-16T16:02:50.516" v="145" actId="2711"/>
        <pc:sldMkLst>
          <pc:docMk/>
          <pc:sldMk cId="59394310" sldId="410"/>
        </pc:sldMkLst>
        <pc:spChg chg="mod">
          <ac:chgData name="NARH (Anna Rabocha)" userId="a5545e76-fda9-4675-921a-595f25aeea74" providerId="ADAL" clId="{58784CAC-3F5B-4CBF-97B1-8F96B55051C4}" dt="2023-09-16T16:02:50.516" v="145" actId="2711"/>
          <ac:spMkLst>
            <pc:docMk/>
            <pc:sldMk cId="59394310" sldId="410"/>
            <ac:spMk id="6" creationId="{829B9A37-634C-4809-BD49-D697F6AB060F}"/>
          </ac:spMkLst>
        </pc:spChg>
        <pc:spChg chg="mod">
          <ac:chgData name="NARH (Anna Rabocha)" userId="a5545e76-fda9-4675-921a-595f25aeea74" providerId="ADAL" clId="{58784CAC-3F5B-4CBF-97B1-8F96B55051C4}" dt="2023-09-16T16:02:38.048" v="143" actId="2711"/>
          <ac:spMkLst>
            <pc:docMk/>
            <pc:sldMk cId="59394310" sldId="410"/>
            <ac:spMk id="8" creationId="{B7701B1C-414D-4A17-B5D2-7295D85796DE}"/>
          </ac:spMkLst>
        </pc:spChg>
        <pc:spChg chg="mod">
          <ac:chgData name="NARH (Anna Rabocha)" userId="a5545e76-fda9-4675-921a-595f25aeea74" providerId="ADAL" clId="{58784CAC-3F5B-4CBF-97B1-8F96B55051C4}" dt="2023-09-16T16:02:43.868" v="144" actId="2711"/>
          <ac:spMkLst>
            <pc:docMk/>
            <pc:sldMk cId="59394310" sldId="410"/>
            <ac:spMk id="11" creationId="{758CB4C2-B0BE-4AA9-B11B-C5A9539E0418}"/>
          </ac:spMkLst>
        </pc:spChg>
      </pc:sldChg>
      <pc:sldChg chg="modSp mod">
        <pc:chgData name="NARH (Anna Rabocha)" userId="a5545e76-fda9-4675-921a-595f25aeea74" providerId="ADAL" clId="{58784CAC-3F5B-4CBF-97B1-8F96B55051C4}" dt="2023-09-16T16:06:02.028" v="175" actId="6549"/>
        <pc:sldMkLst>
          <pc:docMk/>
          <pc:sldMk cId="3261894410" sldId="411"/>
        </pc:sldMkLst>
        <pc:spChg chg="mod">
          <ac:chgData name="NARH (Anna Rabocha)" userId="a5545e76-fda9-4675-921a-595f25aeea74" providerId="ADAL" clId="{58784CAC-3F5B-4CBF-97B1-8F96B55051C4}" dt="2023-09-16T16:04:33.128" v="156" actId="2711"/>
          <ac:spMkLst>
            <pc:docMk/>
            <pc:sldMk cId="3261894410" sldId="411"/>
            <ac:spMk id="3" creationId="{15ECF57A-EF58-4049-917F-4966704FC7AB}"/>
          </ac:spMkLst>
        </pc:spChg>
        <pc:spChg chg="mod">
          <ac:chgData name="NARH (Anna Rabocha)" userId="a5545e76-fda9-4675-921a-595f25aeea74" providerId="ADAL" clId="{58784CAC-3F5B-4CBF-97B1-8F96B55051C4}" dt="2023-09-16T16:04:39.096" v="157" actId="2711"/>
          <ac:spMkLst>
            <pc:docMk/>
            <pc:sldMk cId="3261894410" sldId="411"/>
            <ac:spMk id="5" creationId="{8AD78C61-8735-4E1C-8C83-6351886E2886}"/>
          </ac:spMkLst>
        </pc:spChg>
        <pc:spChg chg="mod">
          <ac:chgData name="NARH (Anna Rabocha)" userId="a5545e76-fda9-4675-921a-595f25aeea74" providerId="ADAL" clId="{58784CAC-3F5B-4CBF-97B1-8F96B55051C4}" dt="2023-09-16T16:04:45.136" v="158" actId="2711"/>
          <ac:spMkLst>
            <pc:docMk/>
            <pc:sldMk cId="3261894410" sldId="411"/>
            <ac:spMk id="8" creationId="{2C7D7AD9-C8AA-455C-9658-C62F8A57B09A}"/>
          </ac:spMkLst>
        </pc:spChg>
        <pc:spChg chg="mod">
          <ac:chgData name="NARH (Anna Rabocha)" userId="a5545e76-fda9-4675-921a-595f25aeea74" providerId="ADAL" clId="{58784CAC-3F5B-4CBF-97B1-8F96B55051C4}" dt="2023-09-16T16:04:26.079" v="155" actId="2711"/>
          <ac:spMkLst>
            <pc:docMk/>
            <pc:sldMk cId="3261894410" sldId="411"/>
            <ac:spMk id="10" creationId="{B4F1B254-436E-44E6-AA94-0B407BD6A9DB}"/>
          </ac:spMkLst>
        </pc:spChg>
        <pc:spChg chg="mod">
          <ac:chgData name="NARH (Anna Rabocha)" userId="a5545e76-fda9-4675-921a-595f25aeea74" providerId="ADAL" clId="{58784CAC-3F5B-4CBF-97B1-8F96B55051C4}" dt="2023-09-16T16:04:51.833" v="159" actId="2711"/>
          <ac:spMkLst>
            <pc:docMk/>
            <pc:sldMk cId="3261894410" sldId="411"/>
            <ac:spMk id="11" creationId="{73B9626C-BA14-481F-A34D-086EA907DE48}"/>
          </ac:spMkLst>
        </pc:spChg>
        <pc:spChg chg="mod">
          <ac:chgData name="NARH (Anna Rabocha)" userId="a5545e76-fda9-4675-921a-595f25aeea74" providerId="ADAL" clId="{58784CAC-3F5B-4CBF-97B1-8F96B55051C4}" dt="2023-09-16T16:04:59.928" v="160" actId="2711"/>
          <ac:spMkLst>
            <pc:docMk/>
            <pc:sldMk cId="3261894410" sldId="411"/>
            <ac:spMk id="12" creationId="{78F550E8-4DBC-4E0C-8EFC-180327DCF600}"/>
          </ac:spMkLst>
        </pc:spChg>
        <pc:spChg chg="mod">
          <ac:chgData name="NARH (Anna Rabocha)" userId="a5545e76-fda9-4675-921a-595f25aeea74" providerId="ADAL" clId="{58784CAC-3F5B-4CBF-97B1-8F96B55051C4}" dt="2023-09-16T16:04:19.728" v="154" actId="2711"/>
          <ac:spMkLst>
            <pc:docMk/>
            <pc:sldMk cId="3261894410" sldId="411"/>
            <ac:spMk id="13" creationId="{83C8B1A8-4780-4AAB-B847-633C4EA845DB}"/>
          </ac:spMkLst>
        </pc:spChg>
        <pc:spChg chg="mod">
          <ac:chgData name="NARH (Anna Rabocha)" userId="a5545e76-fda9-4675-921a-595f25aeea74" providerId="ADAL" clId="{58784CAC-3F5B-4CBF-97B1-8F96B55051C4}" dt="2023-09-16T16:06:02.028" v="175" actId="6549"/>
          <ac:spMkLst>
            <pc:docMk/>
            <pc:sldMk cId="3261894410" sldId="411"/>
            <ac:spMk id="14" creationId="{12D34D2E-C824-412A-86F4-CB48E9D432F9}"/>
          </ac:spMkLst>
        </pc:spChg>
      </pc:sldChg>
      <pc:sldChg chg="addSp delSp modSp mod">
        <pc:chgData name="NARH (Anna Rabocha)" userId="a5545e76-fda9-4675-921a-595f25aeea74" providerId="ADAL" clId="{58784CAC-3F5B-4CBF-97B1-8F96B55051C4}" dt="2023-09-16T16:03:57.900" v="153" actId="1076"/>
        <pc:sldMkLst>
          <pc:docMk/>
          <pc:sldMk cId="3245849893" sldId="418"/>
        </pc:sldMkLst>
        <pc:spChg chg="del">
          <ac:chgData name="NARH (Anna Rabocha)" userId="a5545e76-fda9-4675-921a-595f25aeea74" providerId="ADAL" clId="{58784CAC-3F5B-4CBF-97B1-8F96B55051C4}" dt="2023-09-16T16:03:17.738" v="149" actId="478"/>
          <ac:spMkLst>
            <pc:docMk/>
            <pc:sldMk cId="3245849893" sldId="418"/>
            <ac:spMk id="2" creationId="{B8AC4B92-FB85-48A3-B258-0ED0573C306E}"/>
          </ac:spMkLst>
        </pc:spChg>
        <pc:spChg chg="mod">
          <ac:chgData name="NARH (Anna Rabocha)" userId="a5545e76-fda9-4675-921a-595f25aeea74" providerId="ADAL" clId="{58784CAC-3F5B-4CBF-97B1-8F96B55051C4}" dt="2023-09-16T16:03:10.086" v="147" actId="2711"/>
          <ac:spMkLst>
            <pc:docMk/>
            <pc:sldMk cId="3245849893" sldId="418"/>
            <ac:spMk id="6" creationId="{AB1990BB-CD4D-44C8-9B5B-65E42371AD65}"/>
          </ac:spMkLst>
        </pc:spChg>
        <pc:spChg chg="del">
          <ac:chgData name="NARH (Anna Rabocha)" userId="a5545e76-fda9-4675-921a-595f25aeea74" providerId="ADAL" clId="{58784CAC-3F5B-4CBF-97B1-8F96B55051C4}" dt="2023-09-16T16:03:19.255" v="150" actId="478"/>
          <ac:spMkLst>
            <pc:docMk/>
            <pc:sldMk cId="3245849893" sldId="418"/>
            <ac:spMk id="9" creationId="{AC683E0B-2B2E-47DF-B3AD-752DAEF48557}"/>
          </ac:spMkLst>
        </pc:spChg>
        <pc:spChg chg="mod">
          <ac:chgData name="NARH (Anna Rabocha)" userId="a5545e76-fda9-4675-921a-595f25aeea74" providerId="ADAL" clId="{58784CAC-3F5B-4CBF-97B1-8F96B55051C4}" dt="2023-09-16T16:03:03.727" v="146" actId="2711"/>
          <ac:spMkLst>
            <pc:docMk/>
            <pc:sldMk cId="3245849893" sldId="418"/>
            <ac:spMk id="10" creationId="{CE9B8DB2-B585-4E37-9376-8D3B034FE9AA}"/>
          </ac:spMkLst>
        </pc:spChg>
        <pc:picChg chg="add mod">
          <ac:chgData name="NARH (Anna Rabocha)" userId="a5545e76-fda9-4675-921a-595f25aeea74" providerId="ADAL" clId="{58784CAC-3F5B-4CBF-97B1-8F96B55051C4}" dt="2023-09-16T16:03:57.900" v="153" actId="1076"/>
          <ac:picMkLst>
            <pc:docMk/>
            <pc:sldMk cId="3245849893" sldId="418"/>
            <ac:picMk id="3" creationId="{D8EDE966-6191-9A29-7B5D-D7383682144A}"/>
          </ac:picMkLst>
        </pc:picChg>
        <pc:picChg chg="del">
          <ac:chgData name="NARH (Anna Rabocha)" userId="a5545e76-fda9-4675-921a-595f25aeea74" providerId="ADAL" clId="{58784CAC-3F5B-4CBF-97B1-8F96B55051C4}" dt="2023-09-16T16:03:14.682" v="148" actId="478"/>
          <ac:picMkLst>
            <pc:docMk/>
            <pc:sldMk cId="3245849893" sldId="418"/>
            <ac:picMk id="8" creationId="{D5D7DA39-468F-4B49-910E-ACD8D45E4E28}"/>
          </ac:picMkLst>
        </pc:picChg>
      </pc:sldChg>
      <pc:sldChg chg="modSp mod">
        <pc:chgData name="NARH (Anna Rabocha)" userId="a5545e76-fda9-4675-921a-595f25aeea74" providerId="ADAL" clId="{58784CAC-3F5B-4CBF-97B1-8F96B55051C4}" dt="2023-09-16T15:54:40.475" v="85" actId="14100"/>
        <pc:sldMkLst>
          <pc:docMk/>
          <pc:sldMk cId="1295546014" sldId="455"/>
        </pc:sldMkLst>
        <pc:spChg chg="mod">
          <ac:chgData name="NARH (Anna Rabocha)" userId="a5545e76-fda9-4675-921a-595f25aeea74" providerId="ADAL" clId="{58784CAC-3F5B-4CBF-97B1-8F96B55051C4}" dt="2023-09-16T15:54:40.475" v="85" actId="14100"/>
          <ac:spMkLst>
            <pc:docMk/>
            <pc:sldMk cId="1295546014" sldId="455"/>
            <ac:spMk id="2" creationId="{99A811EC-5C3E-43FA-A261-F9042973A2B8}"/>
          </ac:spMkLst>
        </pc:spChg>
      </pc:sldChg>
      <pc:sldChg chg="modSp mod">
        <pc:chgData name="NARH (Anna Rabocha)" userId="a5545e76-fda9-4675-921a-595f25aeea74" providerId="ADAL" clId="{58784CAC-3F5B-4CBF-97B1-8F96B55051C4}" dt="2023-09-16T15:55:42.512" v="87" actId="57"/>
        <pc:sldMkLst>
          <pc:docMk/>
          <pc:sldMk cId="1040221484" sldId="458"/>
        </pc:sldMkLst>
        <pc:spChg chg="mod">
          <ac:chgData name="NARH (Anna Rabocha)" userId="a5545e76-fda9-4675-921a-595f25aeea74" providerId="ADAL" clId="{58784CAC-3F5B-4CBF-97B1-8F96B55051C4}" dt="2023-09-16T15:55:42.512" v="87" actId="57"/>
          <ac:spMkLst>
            <pc:docMk/>
            <pc:sldMk cId="1040221484" sldId="458"/>
            <ac:spMk id="2" creationId="{81656911-1D96-4F96-8D90-CF5CF9B5611D}"/>
          </ac:spMkLst>
        </pc:spChg>
      </pc:sldChg>
      <pc:sldChg chg="modSp mod">
        <pc:chgData name="NARH (Anna Rabocha)" userId="a5545e76-fda9-4675-921a-595f25aeea74" providerId="ADAL" clId="{58784CAC-3F5B-4CBF-97B1-8F96B55051C4}" dt="2023-09-16T15:58:58.517" v="94" actId="2711"/>
        <pc:sldMkLst>
          <pc:docMk/>
          <pc:sldMk cId="628445125" sldId="459"/>
        </pc:sldMkLst>
        <pc:spChg chg="mod">
          <ac:chgData name="NARH (Anna Rabocha)" userId="a5545e76-fda9-4675-921a-595f25aeea74" providerId="ADAL" clId="{58784CAC-3F5B-4CBF-97B1-8F96B55051C4}" dt="2023-09-16T15:58:58.517" v="94" actId="2711"/>
          <ac:spMkLst>
            <pc:docMk/>
            <pc:sldMk cId="628445125" sldId="459"/>
            <ac:spMk id="6" creationId="{829B9A37-634C-4809-BD49-D697F6AB060F}"/>
          </ac:spMkLst>
        </pc:spChg>
        <pc:spChg chg="mod">
          <ac:chgData name="NARH (Anna Rabocha)" userId="a5545e76-fda9-4675-921a-595f25aeea74" providerId="ADAL" clId="{58784CAC-3F5B-4CBF-97B1-8F96B55051C4}" dt="2023-09-16T15:57:32.199" v="92" actId="2711"/>
          <ac:spMkLst>
            <pc:docMk/>
            <pc:sldMk cId="628445125" sldId="459"/>
            <ac:spMk id="9" creationId="{CACF0C3B-2110-4E0A-9691-84A2618F7B97}"/>
          </ac:spMkLst>
        </pc:spChg>
        <pc:spChg chg="mod">
          <ac:chgData name="NARH (Anna Rabocha)" userId="a5545e76-fda9-4675-921a-595f25aeea74" providerId="ADAL" clId="{58784CAC-3F5B-4CBF-97B1-8F96B55051C4}" dt="2023-09-16T15:57:41.762" v="93" actId="2711"/>
          <ac:spMkLst>
            <pc:docMk/>
            <pc:sldMk cId="628445125" sldId="459"/>
            <ac:spMk id="11" creationId="{758CB4C2-B0BE-4AA9-B11B-C5A9539E0418}"/>
          </ac:spMkLst>
        </pc:spChg>
      </pc:sldChg>
      <pc:sldChg chg="modSp mod">
        <pc:chgData name="NARH (Anna Rabocha)" userId="a5545e76-fda9-4675-921a-595f25aeea74" providerId="ADAL" clId="{58784CAC-3F5B-4CBF-97B1-8F96B55051C4}" dt="2023-09-16T15:55:02.731" v="86"/>
        <pc:sldMkLst>
          <pc:docMk/>
          <pc:sldMk cId="319302502" sldId="504"/>
        </pc:sldMkLst>
        <pc:spChg chg="mod">
          <ac:chgData name="NARH (Anna Rabocha)" userId="a5545e76-fda9-4675-921a-595f25aeea74" providerId="ADAL" clId="{58784CAC-3F5B-4CBF-97B1-8F96B55051C4}" dt="2023-09-16T15:55:02.731" v="86"/>
          <ac:spMkLst>
            <pc:docMk/>
            <pc:sldMk cId="319302502" sldId="504"/>
            <ac:spMk id="59394" creationId="{00000000-0000-0000-0000-000000000000}"/>
          </ac:spMkLst>
        </pc:spChg>
      </pc:sldChg>
      <pc:sldChg chg="del">
        <pc:chgData name="NARH (Anna Rabocha)" userId="a5545e76-fda9-4675-921a-595f25aeea74" providerId="ADAL" clId="{58784CAC-3F5B-4CBF-97B1-8F96B55051C4}" dt="2023-09-16T15:57:16.381" v="91" actId="47"/>
        <pc:sldMkLst>
          <pc:docMk/>
          <pc:sldMk cId="2190627652" sldId="505"/>
        </pc:sldMkLst>
      </pc:sldChg>
      <pc:sldChg chg="modSp mod">
        <pc:chgData name="NARH (Anna Rabocha)" userId="a5545e76-fda9-4675-921a-595f25aeea74" providerId="ADAL" clId="{58784CAC-3F5B-4CBF-97B1-8F96B55051C4}" dt="2023-09-16T16:00:34.552" v="109" actId="114"/>
        <pc:sldMkLst>
          <pc:docMk/>
          <pc:sldMk cId="1230044369" sldId="506"/>
        </pc:sldMkLst>
        <pc:spChg chg="mod">
          <ac:chgData name="NARH (Anna Rabocha)" userId="a5545e76-fda9-4675-921a-595f25aeea74" providerId="ADAL" clId="{58784CAC-3F5B-4CBF-97B1-8F96B55051C4}" dt="2023-09-16T16:00:34.552" v="109" actId="114"/>
          <ac:spMkLst>
            <pc:docMk/>
            <pc:sldMk cId="1230044369" sldId="506"/>
            <ac:spMk id="2" creationId="{B67D9A62-E5A5-BFA8-AEF5-1A6DB47CD149}"/>
          </ac:spMkLst>
        </pc:spChg>
        <pc:spChg chg="mod">
          <ac:chgData name="NARH (Anna Rabocha)" userId="a5545e76-fda9-4675-921a-595f25aeea74" providerId="ADAL" clId="{58784CAC-3F5B-4CBF-97B1-8F96B55051C4}" dt="2023-09-16T16:00:13.392" v="106" actId="1076"/>
          <ac:spMkLst>
            <pc:docMk/>
            <pc:sldMk cId="1230044369" sldId="506"/>
            <ac:spMk id="3" creationId="{5277A390-0776-CAAE-6783-FADCFC9284D6}"/>
          </ac:spMkLst>
        </pc:spChg>
      </pc:sldChg>
      <pc:sldChg chg="modSp mod">
        <pc:chgData name="NARH (Anna Rabocha)" userId="a5545e76-fda9-4675-921a-595f25aeea74" providerId="ADAL" clId="{58784CAC-3F5B-4CBF-97B1-8F96B55051C4}" dt="2023-09-16T16:01:10.277" v="135" actId="20577"/>
        <pc:sldMkLst>
          <pc:docMk/>
          <pc:sldMk cId="2563009507" sldId="507"/>
        </pc:sldMkLst>
        <pc:spChg chg="mod">
          <ac:chgData name="NARH (Anna Rabocha)" userId="a5545e76-fda9-4675-921a-595f25aeea74" providerId="ADAL" clId="{58784CAC-3F5B-4CBF-97B1-8F96B55051C4}" dt="2023-09-16T16:00:50.798" v="113" actId="20577"/>
          <ac:spMkLst>
            <pc:docMk/>
            <pc:sldMk cId="2563009507" sldId="507"/>
            <ac:spMk id="2" creationId="{5C5FD9ED-CBFA-D66D-624F-FFF725A59899}"/>
          </ac:spMkLst>
        </pc:spChg>
        <pc:spChg chg="mod">
          <ac:chgData name="NARH (Anna Rabocha)" userId="a5545e76-fda9-4675-921a-595f25aeea74" providerId="ADAL" clId="{58784CAC-3F5B-4CBF-97B1-8F96B55051C4}" dt="2023-09-16T16:00:28.956" v="108" actId="2711"/>
          <ac:spMkLst>
            <pc:docMk/>
            <pc:sldMk cId="2563009507" sldId="507"/>
            <ac:spMk id="7" creationId="{85F1661E-706F-3DAA-A0A4-E7683CFA26DC}"/>
          </ac:spMkLst>
        </pc:spChg>
        <pc:spChg chg="mod">
          <ac:chgData name="NARH (Anna Rabocha)" userId="a5545e76-fda9-4675-921a-595f25aeea74" providerId="ADAL" clId="{58784CAC-3F5B-4CBF-97B1-8F96B55051C4}" dt="2023-09-16T16:01:10.277" v="135" actId="20577"/>
          <ac:spMkLst>
            <pc:docMk/>
            <pc:sldMk cId="2563009507" sldId="507"/>
            <ac:spMk id="8" creationId="{CEC92787-0E55-FB25-D45A-E29D2A1BC6B5}"/>
          </ac:spMkLst>
        </pc:spChg>
      </pc:sldChg>
    </pc:docChg>
  </pc:docChgLst>
  <pc:docChgLst>
    <pc:chgData name="NARH (Anna Rabocha)" userId="a5545e76-fda9-4675-921a-595f25aeea74" providerId="ADAL" clId="{8810201F-4A68-47D2-BC2F-80224C5C6190}"/>
    <pc:docChg chg="custSel addSld delSld modSld">
      <pc:chgData name="NARH (Anna Rabocha)" userId="a5545e76-fda9-4675-921a-595f25aeea74" providerId="ADAL" clId="{8810201F-4A68-47D2-BC2F-80224C5C6190}" dt="2020-04-30T10:01:34.092" v="77" actId="27636"/>
      <pc:docMkLst>
        <pc:docMk/>
      </pc:docMkLst>
      <pc:sldChg chg="delSp modSp">
        <pc:chgData name="NARH (Anna Rabocha)" userId="a5545e76-fda9-4675-921a-595f25aeea74" providerId="ADAL" clId="{8810201F-4A68-47D2-BC2F-80224C5C6190}" dt="2020-04-30T09:36:39.627" v="15" actId="478"/>
        <pc:sldMkLst>
          <pc:docMk/>
          <pc:sldMk cId="2101561391" sldId="460"/>
        </pc:sldMkLst>
        <pc:spChg chg="mod">
          <ac:chgData name="NARH (Anna Rabocha)" userId="a5545e76-fda9-4675-921a-595f25aeea74" providerId="ADAL" clId="{8810201F-4A68-47D2-BC2F-80224C5C6190}" dt="2020-04-30T09:36:35.578" v="14" actId="20577"/>
          <ac:spMkLst>
            <pc:docMk/>
            <pc:sldMk cId="2101561391" sldId="460"/>
            <ac:spMk id="2" creationId="{99A811EC-5C3E-43FA-A261-F9042973A2B8}"/>
          </ac:spMkLst>
        </pc:spChg>
        <pc:spChg chg="del mod">
          <ac:chgData name="NARH (Anna Rabocha)" userId="a5545e76-fda9-4675-921a-595f25aeea74" providerId="ADAL" clId="{8810201F-4A68-47D2-BC2F-80224C5C6190}" dt="2020-04-30T09:36:39.627" v="15" actId="478"/>
          <ac:spMkLst>
            <pc:docMk/>
            <pc:sldMk cId="2101561391" sldId="460"/>
            <ac:spMk id="3" creationId="{A975643E-1DFE-4DC9-AF23-B08E216877C1}"/>
          </ac:spMkLst>
        </pc:spChg>
      </pc:sldChg>
      <pc:sldChg chg="add del">
        <pc:chgData name="NARH (Anna Rabocha)" userId="a5545e76-fda9-4675-921a-595f25aeea74" providerId="ADAL" clId="{8810201F-4A68-47D2-BC2F-80224C5C6190}" dt="2020-04-30T09:36:22.762" v="3"/>
        <pc:sldMkLst>
          <pc:docMk/>
          <pc:sldMk cId="2406957329" sldId="460"/>
        </pc:sldMkLst>
      </pc:sldChg>
      <pc:sldChg chg="add del">
        <pc:chgData name="NARH (Anna Rabocha)" userId="a5545e76-fda9-4675-921a-595f25aeea74" providerId="ADAL" clId="{8810201F-4A68-47D2-BC2F-80224C5C6190}" dt="2020-04-30T09:36:13.592" v="1" actId="2696"/>
        <pc:sldMkLst>
          <pc:docMk/>
          <pc:sldMk cId="3977329180" sldId="460"/>
        </pc:sldMkLst>
      </pc:sldChg>
      <pc:sldChg chg="modSp add">
        <pc:chgData name="NARH (Anna Rabocha)" userId="a5545e76-fda9-4675-921a-595f25aeea74" providerId="ADAL" clId="{8810201F-4A68-47D2-BC2F-80224C5C6190}" dt="2020-04-30T10:01:34.092" v="77" actId="27636"/>
        <pc:sldMkLst>
          <pc:docMk/>
          <pc:sldMk cId="4181502732" sldId="461"/>
        </pc:sldMkLst>
        <pc:spChg chg="mod">
          <ac:chgData name="NARH (Anna Rabocha)" userId="a5545e76-fda9-4675-921a-595f25aeea74" providerId="ADAL" clId="{8810201F-4A68-47D2-BC2F-80224C5C6190}" dt="2020-04-30T10:01:34.092" v="77" actId="27636"/>
          <ac:spMkLst>
            <pc:docMk/>
            <pc:sldMk cId="4181502732" sldId="461"/>
            <ac:spMk id="2" creationId="{6B7CA565-6148-41F1-885D-DE2019220353}"/>
          </ac:spMkLst>
        </pc:spChg>
        <pc:spChg chg="mod">
          <ac:chgData name="NARH (Anna Rabocha)" userId="a5545e76-fda9-4675-921a-595f25aeea74" providerId="ADAL" clId="{8810201F-4A68-47D2-BC2F-80224C5C6190}" dt="2020-04-30T09:59:23.155" v="25" actId="20577"/>
          <ac:spMkLst>
            <pc:docMk/>
            <pc:sldMk cId="4181502732" sldId="461"/>
            <ac:spMk id="3" creationId="{5EA49C91-4F68-43A4-8190-B7C4426BB200}"/>
          </ac:spMkLst>
        </pc:spChg>
      </pc:sldChg>
    </pc:docChg>
  </pc:docChgLst>
  <pc:docChgLst>
    <pc:chgData name="NARH (Anna Rabocha)" userId="a5545e76-fda9-4675-921a-595f25aeea74" providerId="ADAL" clId="{09CA476A-1298-4B1B-A0B1-176F20F8A4FD}"/>
    <pc:docChg chg="delSld">
      <pc:chgData name="NARH (Anna Rabocha)" userId="a5545e76-fda9-4675-921a-595f25aeea74" providerId="ADAL" clId="{09CA476A-1298-4B1B-A0B1-176F20F8A4FD}" dt="2021-03-18T07:57:08.069" v="0" actId="2696"/>
      <pc:docMkLst>
        <pc:docMk/>
      </pc:docMkLst>
      <pc:sldChg chg="del">
        <pc:chgData name="NARH (Anna Rabocha)" userId="a5545e76-fda9-4675-921a-595f25aeea74" providerId="ADAL" clId="{09CA476A-1298-4B1B-A0B1-176F20F8A4FD}" dt="2021-03-18T07:57:08.069" v="0" actId="2696"/>
        <pc:sldMkLst>
          <pc:docMk/>
          <pc:sldMk cId="280944370" sldId="460"/>
        </pc:sldMkLst>
      </pc:sldChg>
    </pc:docChg>
  </pc:docChgLst>
  <pc:docChgLst>
    <pc:chgData name="NARH (Anna Rabocha)" userId="a5545e76-fda9-4675-921a-595f25aeea74" providerId="ADAL" clId="{E443085F-FF20-4AF6-9DB9-0501AF61DC8D}"/>
    <pc:docChg chg="undo custSel addSld delSld modSld">
      <pc:chgData name="NARH (Anna Rabocha)" userId="a5545e76-fda9-4675-921a-595f25aeea74" providerId="ADAL" clId="{E443085F-FF20-4AF6-9DB9-0501AF61DC8D}" dt="2021-01-18T15:37:51.833" v="121" actId="1076"/>
      <pc:docMkLst>
        <pc:docMk/>
      </pc:docMkLst>
      <pc:sldChg chg="modSp del">
        <pc:chgData name="NARH (Anna Rabocha)" userId="a5545e76-fda9-4675-921a-595f25aeea74" providerId="ADAL" clId="{E443085F-FF20-4AF6-9DB9-0501AF61DC8D}" dt="2021-01-18T14:56:31.507" v="111" actId="2696"/>
        <pc:sldMkLst>
          <pc:docMk/>
          <pc:sldMk cId="3387186407" sldId="457"/>
        </pc:sldMkLst>
        <pc:spChg chg="mod">
          <ac:chgData name="NARH (Anna Rabocha)" userId="a5545e76-fda9-4675-921a-595f25aeea74" providerId="ADAL" clId="{E443085F-FF20-4AF6-9DB9-0501AF61DC8D}" dt="2021-01-18T14:30:10.437" v="16" actId="6549"/>
          <ac:spMkLst>
            <pc:docMk/>
            <pc:sldMk cId="3387186407" sldId="457"/>
            <ac:spMk id="2" creationId="{4DB91C7A-AC16-4E58-B949-CE511C5686DD}"/>
          </ac:spMkLst>
        </pc:spChg>
      </pc:sldChg>
      <pc:sldChg chg="modSp">
        <pc:chgData name="NARH (Anna Rabocha)" userId="a5545e76-fda9-4675-921a-595f25aeea74" providerId="ADAL" clId="{E443085F-FF20-4AF6-9DB9-0501AF61DC8D}" dt="2021-01-18T14:21:52.671" v="1" actId="20577"/>
        <pc:sldMkLst>
          <pc:docMk/>
          <pc:sldMk cId="280944370" sldId="460"/>
        </pc:sldMkLst>
        <pc:spChg chg="mod">
          <ac:chgData name="NARH (Anna Rabocha)" userId="a5545e76-fda9-4675-921a-595f25aeea74" providerId="ADAL" clId="{E443085F-FF20-4AF6-9DB9-0501AF61DC8D}" dt="2021-01-18T14:21:52.671" v="1" actId="20577"/>
          <ac:spMkLst>
            <pc:docMk/>
            <pc:sldMk cId="280944370" sldId="460"/>
            <ac:spMk id="8" creationId="{2FCE0703-64DC-410C-AA79-CF2DEBE0F5D0}"/>
          </ac:spMkLst>
        </pc:spChg>
      </pc:sldChg>
      <pc:sldChg chg="delSp modSp">
        <pc:chgData name="NARH (Anna Rabocha)" userId="a5545e76-fda9-4675-921a-595f25aeea74" providerId="ADAL" clId="{E443085F-FF20-4AF6-9DB9-0501AF61DC8D}" dt="2021-01-18T14:55:39.600" v="110" actId="20577"/>
        <pc:sldMkLst>
          <pc:docMk/>
          <pc:sldMk cId="319302502" sldId="504"/>
        </pc:sldMkLst>
        <pc:spChg chg="mod">
          <ac:chgData name="NARH (Anna Rabocha)" userId="a5545e76-fda9-4675-921a-595f25aeea74" providerId="ADAL" clId="{E443085F-FF20-4AF6-9DB9-0501AF61DC8D}" dt="2021-01-18T14:55:11.207" v="104" actId="20577"/>
          <ac:spMkLst>
            <pc:docMk/>
            <pc:sldMk cId="319302502" sldId="504"/>
            <ac:spMk id="6" creationId="{00000000-0000-0000-0000-000000000000}"/>
          </ac:spMkLst>
        </pc:spChg>
        <pc:spChg chg="mod">
          <ac:chgData name="NARH (Anna Rabocha)" userId="a5545e76-fda9-4675-921a-595f25aeea74" providerId="ADAL" clId="{E443085F-FF20-4AF6-9DB9-0501AF61DC8D}" dt="2021-01-18T14:52:55.422" v="71" actId="20577"/>
          <ac:spMkLst>
            <pc:docMk/>
            <pc:sldMk cId="319302502" sldId="504"/>
            <ac:spMk id="9" creationId="{00000000-0000-0000-0000-000000000000}"/>
          </ac:spMkLst>
        </pc:spChg>
        <pc:spChg chg="del">
          <ac:chgData name="NARH (Anna Rabocha)" userId="a5545e76-fda9-4675-921a-595f25aeea74" providerId="ADAL" clId="{E443085F-FF20-4AF6-9DB9-0501AF61DC8D}" dt="2021-01-18T14:55:32.198" v="107" actId="478"/>
          <ac:spMkLst>
            <pc:docMk/>
            <pc:sldMk cId="319302502" sldId="504"/>
            <ac:spMk id="13" creationId="{00000000-0000-0000-0000-000000000000}"/>
          </ac:spMkLst>
        </pc:spChg>
        <pc:spChg chg="del">
          <ac:chgData name="NARH (Anna Rabocha)" userId="a5545e76-fda9-4675-921a-595f25aeea74" providerId="ADAL" clId="{E443085F-FF20-4AF6-9DB9-0501AF61DC8D}" dt="2021-01-18T14:29:31.859" v="2" actId="478"/>
          <ac:spMkLst>
            <pc:docMk/>
            <pc:sldMk cId="319302502" sldId="504"/>
            <ac:spMk id="14" creationId="{00000000-0000-0000-0000-000000000000}"/>
          </ac:spMkLst>
        </pc:spChg>
        <pc:spChg chg="mod">
          <ac:chgData name="NARH (Anna Rabocha)" userId="a5545e76-fda9-4675-921a-595f25aeea74" providerId="ADAL" clId="{E443085F-FF20-4AF6-9DB9-0501AF61DC8D}" dt="2021-01-18T14:30:49.888" v="23" actId="20577"/>
          <ac:spMkLst>
            <pc:docMk/>
            <pc:sldMk cId="319302502" sldId="504"/>
            <ac:spMk id="21" creationId="{00000000-0000-0000-0000-000000000000}"/>
          </ac:spMkLst>
        </pc:spChg>
        <pc:spChg chg="mod">
          <ac:chgData name="NARH (Anna Rabocha)" userId="a5545e76-fda9-4675-921a-595f25aeea74" providerId="ADAL" clId="{E443085F-FF20-4AF6-9DB9-0501AF61DC8D}" dt="2021-01-18T14:55:24.280" v="106" actId="20577"/>
          <ac:spMkLst>
            <pc:docMk/>
            <pc:sldMk cId="319302502" sldId="504"/>
            <ac:spMk id="27" creationId="{00000000-0000-0000-0000-000000000000}"/>
          </ac:spMkLst>
        </pc:spChg>
        <pc:spChg chg="mod">
          <ac:chgData name="NARH (Anna Rabocha)" userId="a5545e76-fda9-4675-921a-595f25aeea74" providerId="ADAL" clId="{E443085F-FF20-4AF6-9DB9-0501AF61DC8D}" dt="2021-01-18T14:55:39.600" v="110" actId="20577"/>
          <ac:spMkLst>
            <pc:docMk/>
            <pc:sldMk cId="319302502" sldId="504"/>
            <ac:spMk id="59394" creationId="{00000000-0000-0000-0000-000000000000}"/>
          </ac:spMkLst>
        </pc:spChg>
        <pc:picChg chg="mod">
          <ac:chgData name="NARH (Anna Rabocha)" userId="a5545e76-fda9-4675-921a-595f25aeea74" providerId="ADAL" clId="{E443085F-FF20-4AF6-9DB9-0501AF61DC8D}" dt="2021-01-18T14:30:37.198" v="21" actId="14100"/>
          <ac:picMkLst>
            <pc:docMk/>
            <pc:sldMk cId="319302502" sldId="504"/>
            <ac:picMk id="25" creationId="{00000000-0000-0000-0000-000000000000}"/>
          </ac:picMkLst>
        </pc:picChg>
      </pc:sldChg>
      <pc:sldChg chg="addSp delSp modSp add">
        <pc:chgData name="NARH (Anna Rabocha)" userId="a5545e76-fda9-4675-921a-595f25aeea74" providerId="ADAL" clId="{E443085F-FF20-4AF6-9DB9-0501AF61DC8D}" dt="2021-01-18T15:37:51.833" v="121" actId="1076"/>
        <pc:sldMkLst>
          <pc:docMk/>
          <pc:sldMk cId="2190627652" sldId="505"/>
        </pc:sldMkLst>
        <pc:spChg chg="del">
          <ac:chgData name="NARH (Anna Rabocha)" userId="a5545e76-fda9-4675-921a-595f25aeea74" providerId="ADAL" clId="{E443085F-FF20-4AF6-9DB9-0501AF61DC8D}" dt="2021-01-18T15:34:01.022" v="113"/>
          <ac:spMkLst>
            <pc:docMk/>
            <pc:sldMk cId="2190627652" sldId="505"/>
            <ac:spMk id="2" creationId="{30DE272D-70A5-46BE-9142-1F02C01B05A6}"/>
          </ac:spMkLst>
        </pc:spChg>
        <pc:spChg chg="add del mod">
          <ac:chgData name="NARH (Anna Rabocha)" userId="a5545e76-fda9-4675-921a-595f25aeea74" providerId="ADAL" clId="{E443085F-FF20-4AF6-9DB9-0501AF61DC8D}" dt="2021-01-18T15:37:48.142" v="119" actId="478"/>
          <ac:spMkLst>
            <pc:docMk/>
            <pc:sldMk cId="2190627652" sldId="505"/>
            <ac:spMk id="9" creationId="{897A4EB5-EEF5-4BA7-9FE2-7B22BB050C2B}"/>
          </ac:spMkLst>
        </pc:spChg>
        <pc:picChg chg="add del mod">
          <ac:chgData name="NARH (Anna Rabocha)" userId="a5545e76-fda9-4675-921a-595f25aeea74" providerId="ADAL" clId="{E443085F-FF20-4AF6-9DB9-0501AF61DC8D}" dt="2021-01-18T15:34:16.335" v="118" actId="478"/>
          <ac:picMkLst>
            <pc:docMk/>
            <pc:sldMk cId="2190627652" sldId="505"/>
            <ac:picMk id="7" creationId="{0D34DEA0-62C2-430C-92AB-AE87F4D94F29}"/>
          </ac:picMkLst>
        </pc:picChg>
        <pc:picChg chg="add mod">
          <ac:chgData name="NARH (Anna Rabocha)" userId="a5545e76-fda9-4675-921a-595f25aeea74" providerId="ADAL" clId="{E443085F-FF20-4AF6-9DB9-0501AF61DC8D}" dt="2021-01-18T15:37:51.833" v="121" actId="1076"/>
          <ac:picMkLst>
            <pc:docMk/>
            <pc:sldMk cId="2190627652" sldId="505"/>
            <ac:picMk id="10" creationId="{C7B61958-1B58-4A22-8027-DDB6F239BAC5}"/>
          </ac:picMkLst>
        </pc:picChg>
      </pc:sldChg>
    </pc:docChg>
  </pc:docChgLst>
  <pc:docChgLst>
    <pc:chgData name="NTVO (Nataliia Voit)" userId="01ae90a9-d763-4ba6-a5af-ea0941125510" providerId="ADAL" clId="{C0C8473D-9A63-4724-A1F6-3939106CA786}"/>
    <pc:docChg chg="modSld">
      <pc:chgData name="NTVO (Nataliia Voit)" userId="01ae90a9-d763-4ba6-a5af-ea0941125510" providerId="ADAL" clId="{C0C8473D-9A63-4724-A1F6-3939106CA786}" dt="2020-03-18T14:11:15.155" v="0" actId="1076"/>
      <pc:docMkLst>
        <pc:docMk/>
      </pc:docMkLst>
    </pc:docChg>
  </pc:docChgLst>
  <pc:docChgLst>
    <pc:chgData name="NARH (Anna Rabocha)" userId="a5545e76-fda9-4675-921a-595f25aeea74" providerId="ADAL" clId="{31377354-D8F9-4472-8AB8-26A7EA3818A1}"/>
    <pc:docChg chg="undo modSld">
      <pc:chgData name="NARH (Anna Rabocha)" userId="a5545e76-fda9-4675-921a-595f25aeea74" providerId="ADAL" clId="{31377354-D8F9-4472-8AB8-26A7EA3818A1}" dt="2020-08-26T19:19:53.600" v="54"/>
      <pc:docMkLst>
        <pc:docMk/>
      </pc:docMkLst>
      <pc:sldChg chg="modTransition">
        <pc:chgData name="NARH (Anna Rabocha)" userId="a5545e76-fda9-4675-921a-595f25aeea74" providerId="ADAL" clId="{31377354-D8F9-4472-8AB8-26A7EA3818A1}" dt="2020-08-26T19:19:48.892" v="53"/>
        <pc:sldMkLst>
          <pc:docMk/>
          <pc:sldMk cId="3245849893" sldId="418"/>
        </pc:sldMkLst>
      </pc:sldChg>
      <pc:sldChg chg="modSp">
        <pc:chgData name="NARH (Anna Rabocha)" userId="a5545e76-fda9-4675-921a-595f25aeea74" providerId="ADAL" clId="{31377354-D8F9-4472-8AB8-26A7EA3818A1}" dt="2020-08-26T19:18:48.391" v="51" actId="20577"/>
        <pc:sldMkLst>
          <pc:docMk/>
          <pc:sldMk cId="1040221484" sldId="458"/>
        </pc:sldMkLst>
        <pc:spChg chg="mod">
          <ac:chgData name="NARH (Anna Rabocha)" userId="a5545e76-fda9-4675-921a-595f25aeea74" providerId="ADAL" clId="{31377354-D8F9-4472-8AB8-26A7EA3818A1}" dt="2020-08-26T19:18:48.391" v="51" actId="20577"/>
          <ac:spMkLst>
            <pc:docMk/>
            <pc:sldMk cId="1040221484" sldId="458"/>
            <ac:spMk id="2" creationId="{81656911-1D96-4F96-8D90-CF5CF9B5611D}"/>
          </ac:spMkLst>
        </pc:spChg>
      </pc:sldChg>
      <pc:sldChg chg="modTransition">
        <pc:chgData name="NARH (Anna Rabocha)" userId="a5545e76-fda9-4675-921a-595f25aeea74" providerId="ADAL" clId="{31377354-D8F9-4472-8AB8-26A7EA3818A1}" dt="2020-08-26T19:19:27.621" v="52"/>
        <pc:sldMkLst>
          <pc:docMk/>
          <pc:sldMk cId="2101561391" sldId="460"/>
        </pc:sldMkLst>
      </pc:sldChg>
      <pc:sldChg chg="modTransition">
        <pc:chgData name="NARH (Anna Rabocha)" userId="a5545e76-fda9-4675-921a-595f25aeea74" providerId="ADAL" clId="{31377354-D8F9-4472-8AB8-26A7EA3818A1}" dt="2020-08-26T19:19:53.600" v="54"/>
        <pc:sldMkLst>
          <pc:docMk/>
          <pc:sldMk cId="4181502732" sldId="461"/>
        </pc:sldMkLst>
      </pc:sldChg>
    </pc:docChg>
  </pc:docChgLst>
  <pc:docChgLst>
    <pc:chgData name="NARH (Anna Rabocha)" userId="a5545e76-fda9-4675-921a-595f25aeea74" providerId="ADAL" clId="{91421113-C52E-4930-AA4A-3F040E0A69E5}"/>
    <pc:docChg chg="delSld modSld">
      <pc:chgData name="NARH (Anna Rabocha)" userId="a5545e76-fda9-4675-921a-595f25aeea74" providerId="ADAL" clId="{91421113-C52E-4930-AA4A-3F040E0A69E5}" dt="2020-09-15T10:16:17.593" v="2" actId="2696"/>
      <pc:docMkLst>
        <pc:docMk/>
      </pc:docMkLst>
      <pc:sldChg chg="modTransition">
        <pc:chgData name="NARH (Anna Rabocha)" userId="a5545e76-fda9-4675-921a-595f25aeea74" providerId="ADAL" clId="{91421113-C52E-4930-AA4A-3F040E0A69E5}" dt="2020-09-15T10:16:10.529" v="0"/>
        <pc:sldMkLst>
          <pc:docMk/>
          <pc:sldMk cId="3245849893" sldId="418"/>
        </pc:sldMkLst>
      </pc:sldChg>
      <pc:sldChg chg="del">
        <pc:chgData name="NARH (Anna Rabocha)" userId="a5545e76-fda9-4675-921a-595f25aeea74" providerId="ADAL" clId="{91421113-C52E-4930-AA4A-3F040E0A69E5}" dt="2020-09-15T10:16:16.052" v="1" actId="2696"/>
        <pc:sldMkLst>
          <pc:docMk/>
          <pc:sldMk cId="2101561391" sldId="460"/>
        </pc:sldMkLst>
      </pc:sldChg>
      <pc:sldChg chg="del">
        <pc:chgData name="NARH (Anna Rabocha)" userId="a5545e76-fda9-4675-921a-595f25aeea74" providerId="ADAL" clId="{91421113-C52E-4930-AA4A-3F040E0A69E5}" dt="2020-09-15T10:16:17.593" v="2" actId="2696"/>
        <pc:sldMkLst>
          <pc:docMk/>
          <pc:sldMk cId="4181502732" sldId="461"/>
        </pc:sldMkLst>
      </pc:sldChg>
    </pc:docChg>
  </pc:docChgLst>
  <pc:docChgLst>
    <pc:chgData name="NARH (Anna Rabocha)" userId="a5545e76-fda9-4675-921a-595f25aeea74" providerId="ADAL" clId="{247EED82-E09A-4312-AC47-446A4D2304A0}"/>
    <pc:docChg chg="custSel addSld modSld">
      <pc:chgData name="NARH (Anna Rabocha)" userId="a5545e76-fda9-4675-921a-595f25aeea74" providerId="ADAL" clId="{247EED82-E09A-4312-AC47-446A4D2304A0}" dt="2023-06-16T12:59:06.302" v="387"/>
      <pc:docMkLst>
        <pc:docMk/>
      </pc:docMkLst>
      <pc:sldChg chg="addSp delSp modSp mod">
        <pc:chgData name="NARH (Anna Rabocha)" userId="a5545e76-fda9-4675-921a-595f25aeea74" providerId="ADAL" clId="{247EED82-E09A-4312-AC47-446A4D2304A0}" dt="2023-06-16T12:41:51.951" v="167" actId="20577"/>
        <pc:sldMkLst>
          <pc:docMk/>
          <pc:sldMk cId="262338442" sldId="280"/>
        </pc:sldMkLst>
        <pc:spChg chg="add del">
          <ac:chgData name="NARH (Anna Rabocha)" userId="a5545e76-fda9-4675-921a-595f25aeea74" providerId="ADAL" clId="{247EED82-E09A-4312-AC47-446A4D2304A0}" dt="2023-06-16T12:37:00.676" v="150"/>
          <ac:spMkLst>
            <pc:docMk/>
            <pc:sldMk cId="262338442" sldId="280"/>
            <ac:spMk id="3" creationId="{14E8D89E-C5DA-A14D-0D1F-B01DB42F9D34}"/>
          </ac:spMkLst>
        </pc:spChg>
        <pc:spChg chg="mod">
          <ac:chgData name="NARH (Anna Rabocha)" userId="a5545e76-fda9-4675-921a-595f25aeea74" providerId="ADAL" clId="{247EED82-E09A-4312-AC47-446A4D2304A0}" dt="2023-06-16T12:37:27.543" v="156" actId="20577"/>
          <ac:spMkLst>
            <pc:docMk/>
            <pc:sldMk cId="262338442" sldId="280"/>
            <ac:spMk id="8" creationId="{2FCE0703-64DC-410C-AA79-CF2DEBE0F5D0}"/>
          </ac:spMkLst>
        </pc:spChg>
        <pc:spChg chg="mod">
          <ac:chgData name="NARH (Anna Rabocha)" userId="a5545e76-fda9-4675-921a-595f25aeea74" providerId="ADAL" clId="{247EED82-E09A-4312-AC47-446A4D2304A0}" dt="2023-06-16T12:41:51.951" v="167" actId="20577"/>
          <ac:spMkLst>
            <pc:docMk/>
            <pc:sldMk cId="262338442" sldId="280"/>
            <ac:spMk id="11" creationId="{B7ADCD01-AEB7-4A78-A1BD-3C0A88D8E458}"/>
          </ac:spMkLst>
        </pc:spChg>
      </pc:sldChg>
      <pc:sldChg chg="modSp mod">
        <pc:chgData name="NARH (Anna Rabocha)" userId="a5545e76-fda9-4675-921a-595f25aeea74" providerId="ADAL" clId="{247EED82-E09A-4312-AC47-446A4D2304A0}" dt="2023-06-16T12:43:16.313" v="197" actId="20577"/>
        <pc:sldMkLst>
          <pc:docMk/>
          <pc:sldMk cId="72210228" sldId="405"/>
        </pc:sldMkLst>
        <pc:spChg chg="mod">
          <ac:chgData name="NARH (Anna Rabocha)" userId="a5545e76-fda9-4675-921a-595f25aeea74" providerId="ADAL" clId="{247EED82-E09A-4312-AC47-446A4D2304A0}" dt="2023-06-16T12:42:35.118" v="181" actId="27636"/>
          <ac:spMkLst>
            <pc:docMk/>
            <pc:sldMk cId="72210228" sldId="405"/>
            <ac:spMk id="2" creationId="{81656911-1D96-4F96-8D90-CF5CF9B5611D}"/>
          </ac:spMkLst>
        </pc:spChg>
        <pc:spChg chg="mod">
          <ac:chgData name="NARH (Anna Rabocha)" userId="a5545e76-fda9-4675-921a-595f25aeea74" providerId="ADAL" clId="{247EED82-E09A-4312-AC47-446A4D2304A0}" dt="2023-06-16T12:43:16.313" v="197" actId="20577"/>
          <ac:spMkLst>
            <pc:docMk/>
            <pc:sldMk cId="72210228" sldId="405"/>
            <ac:spMk id="3" creationId="{B4161B9C-41DB-4AB3-A7F2-8DE9FB9F1FCF}"/>
          </ac:spMkLst>
        </pc:spChg>
        <pc:spChg chg="mod">
          <ac:chgData name="NARH (Anna Rabocha)" userId="a5545e76-fda9-4675-921a-595f25aeea74" providerId="ADAL" clId="{247EED82-E09A-4312-AC47-446A4D2304A0}" dt="2023-06-16T12:43:10.290" v="196" actId="20577"/>
          <ac:spMkLst>
            <pc:docMk/>
            <pc:sldMk cId="72210228" sldId="405"/>
            <ac:spMk id="5" creationId="{03CA07A5-C606-4A46-A8B7-09470866B732}"/>
          </ac:spMkLst>
        </pc:spChg>
        <pc:spChg chg="mod">
          <ac:chgData name="NARH (Anna Rabocha)" userId="a5545e76-fda9-4675-921a-595f25aeea74" providerId="ADAL" clId="{247EED82-E09A-4312-AC47-446A4D2304A0}" dt="2023-06-16T12:42:57.964" v="183"/>
          <ac:spMkLst>
            <pc:docMk/>
            <pc:sldMk cId="72210228" sldId="405"/>
            <ac:spMk id="8" creationId="{8DA62327-2555-4AAC-B2A0-3FE9A2FD239F}"/>
          </ac:spMkLst>
        </pc:spChg>
      </pc:sldChg>
      <pc:sldChg chg="modSp mod">
        <pc:chgData name="NARH (Anna Rabocha)" userId="a5545e76-fda9-4675-921a-595f25aeea74" providerId="ADAL" clId="{247EED82-E09A-4312-AC47-446A4D2304A0}" dt="2023-06-16T12:44:37.406" v="230"/>
        <pc:sldMkLst>
          <pc:docMk/>
          <pc:sldMk cId="59394310" sldId="410"/>
        </pc:sldMkLst>
        <pc:spChg chg="mod">
          <ac:chgData name="NARH (Anna Rabocha)" userId="a5545e76-fda9-4675-921a-595f25aeea74" providerId="ADAL" clId="{247EED82-E09A-4312-AC47-446A4D2304A0}" dt="2023-06-16T12:44:37.406" v="230"/>
          <ac:spMkLst>
            <pc:docMk/>
            <pc:sldMk cId="59394310" sldId="410"/>
            <ac:spMk id="6" creationId="{829B9A37-634C-4809-BD49-D697F6AB060F}"/>
          </ac:spMkLst>
        </pc:spChg>
        <pc:spChg chg="mod">
          <ac:chgData name="NARH (Anna Rabocha)" userId="a5545e76-fda9-4675-921a-595f25aeea74" providerId="ADAL" clId="{247EED82-E09A-4312-AC47-446A4D2304A0}" dt="2023-06-16T12:43:32.372" v="205" actId="20577"/>
          <ac:spMkLst>
            <pc:docMk/>
            <pc:sldMk cId="59394310" sldId="410"/>
            <ac:spMk id="11" creationId="{758CB4C2-B0BE-4AA9-B11B-C5A9539E0418}"/>
          </ac:spMkLst>
        </pc:spChg>
      </pc:sldChg>
      <pc:sldChg chg="modSp mod">
        <pc:chgData name="NARH (Anna Rabocha)" userId="a5545e76-fda9-4675-921a-595f25aeea74" providerId="ADAL" clId="{247EED82-E09A-4312-AC47-446A4D2304A0}" dt="2023-06-16T12:48:03.681" v="298" actId="20577"/>
        <pc:sldMkLst>
          <pc:docMk/>
          <pc:sldMk cId="3261894410" sldId="411"/>
        </pc:sldMkLst>
        <pc:spChg chg="mod">
          <ac:chgData name="NARH (Anna Rabocha)" userId="a5545e76-fda9-4675-921a-595f25aeea74" providerId="ADAL" clId="{247EED82-E09A-4312-AC47-446A4D2304A0}" dt="2023-06-16T12:46:02.589" v="248"/>
          <ac:spMkLst>
            <pc:docMk/>
            <pc:sldMk cId="3261894410" sldId="411"/>
            <ac:spMk id="3" creationId="{15ECF57A-EF58-4049-917F-4966704FC7AB}"/>
          </ac:spMkLst>
        </pc:spChg>
        <pc:spChg chg="mod">
          <ac:chgData name="NARH (Anna Rabocha)" userId="a5545e76-fda9-4675-921a-595f25aeea74" providerId="ADAL" clId="{247EED82-E09A-4312-AC47-446A4D2304A0}" dt="2023-06-16T12:46:26.115" v="272" actId="20577"/>
          <ac:spMkLst>
            <pc:docMk/>
            <pc:sldMk cId="3261894410" sldId="411"/>
            <ac:spMk id="5" creationId="{8AD78C61-8735-4E1C-8C83-6351886E2886}"/>
          </ac:spMkLst>
        </pc:spChg>
        <pc:spChg chg="mod">
          <ac:chgData name="NARH (Anna Rabocha)" userId="a5545e76-fda9-4675-921a-595f25aeea74" providerId="ADAL" clId="{247EED82-E09A-4312-AC47-446A4D2304A0}" dt="2023-06-16T12:46:35.187" v="280" actId="20577"/>
          <ac:spMkLst>
            <pc:docMk/>
            <pc:sldMk cId="3261894410" sldId="411"/>
            <ac:spMk id="8" creationId="{2C7D7AD9-C8AA-455C-9658-C62F8A57B09A}"/>
          </ac:spMkLst>
        </pc:spChg>
        <pc:spChg chg="mod">
          <ac:chgData name="NARH (Anna Rabocha)" userId="a5545e76-fda9-4675-921a-595f25aeea74" providerId="ADAL" clId="{247EED82-E09A-4312-AC47-446A4D2304A0}" dt="2023-06-16T12:46:52.725" v="282"/>
          <ac:spMkLst>
            <pc:docMk/>
            <pc:sldMk cId="3261894410" sldId="411"/>
            <ac:spMk id="11" creationId="{73B9626C-BA14-481F-A34D-086EA907DE48}"/>
          </ac:spMkLst>
        </pc:spChg>
        <pc:spChg chg="mod">
          <ac:chgData name="NARH (Anna Rabocha)" userId="a5545e76-fda9-4675-921a-595f25aeea74" providerId="ADAL" clId="{247EED82-E09A-4312-AC47-446A4D2304A0}" dt="2023-06-16T12:47:10.328" v="284"/>
          <ac:spMkLst>
            <pc:docMk/>
            <pc:sldMk cId="3261894410" sldId="411"/>
            <ac:spMk id="12" creationId="{78F550E8-4DBC-4E0C-8EFC-180327DCF600}"/>
          </ac:spMkLst>
        </pc:spChg>
        <pc:spChg chg="mod">
          <ac:chgData name="NARH (Anna Rabocha)" userId="a5545e76-fda9-4675-921a-595f25aeea74" providerId="ADAL" clId="{247EED82-E09A-4312-AC47-446A4D2304A0}" dt="2023-06-16T12:47:35.341" v="286"/>
          <ac:spMkLst>
            <pc:docMk/>
            <pc:sldMk cId="3261894410" sldId="411"/>
            <ac:spMk id="13" creationId="{83C8B1A8-4780-4AAB-B847-633C4EA845DB}"/>
          </ac:spMkLst>
        </pc:spChg>
        <pc:spChg chg="mod">
          <ac:chgData name="NARH (Anna Rabocha)" userId="a5545e76-fda9-4675-921a-595f25aeea74" providerId="ADAL" clId="{247EED82-E09A-4312-AC47-446A4D2304A0}" dt="2023-06-16T12:48:03.681" v="298" actId="20577"/>
          <ac:spMkLst>
            <pc:docMk/>
            <pc:sldMk cId="3261894410" sldId="411"/>
            <ac:spMk id="14" creationId="{12D34D2E-C824-412A-86F4-CB48E9D432F9}"/>
          </ac:spMkLst>
        </pc:spChg>
      </pc:sldChg>
      <pc:sldChg chg="modSp mod">
        <pc:chgData name="NARH (Anna Rabocha)" userId="a5545e76-fda9-4675-921a-595f25aeea74" providerId="ADAL" clId="{247EED82-E09A-4312-AC47-446A4D2304A0}" dt="2023-06-16T12:45:35.869" v="246"/>
        <pc:sldMkLst>
          <pc:docMk/>
          <pc:sldMk cId="3245849893" sldId="418"/>
        </pc:sldMkLst>
        <pc:spChg chg="mod">
          <ac:chgData name="NARH (Anna Rabocha)" userId="a5545e76-fda9-4675-921a-595f25aeea74" providerId="ADAL" clId="{247EED82-E09A-4312-AC47-446A4D2304A0}" dt="2023-06-16T12:45:13.534" v="244" actId="20577"/>
          <ac:spMkLst>
            <pc:docMk/>
            <pc:sldMk cId="3245849893" sldId="418"/>
            <ac:spMk id="6" creationId="{AB1990BB-CD4D-44C8-9B5B-65E42371AD65}"/>
          </ac:spMkLst>
        </pc:spChg>
        <pc:spChg chg="mod">
          <ac:chgData name="NARH (Anna Rabocha)" userId="a5545e76-fda9-4675-921a-595f25aeea74" providerId="ADAL" clId="{247EED82-E09A-4312-AC47-446A4D2304A0}" dt="2023-06-16T12:45:35.869" v="246"/>
          <ac:spMkLst>
            <pc:docMk/>
            <pc:sldMk cId="3245849893" sldId="418"/>
            <ac:spMk id="7" creationId="{CBB84098-F2E8-43E3-AFD5-5A2B8E4A19B6}"/>
          </ac:spMkLst>
        </pc:spChg>
        <pc:spChg chg="mod">
          <ac:chgData name="NARH (Anna Rabocha)" userId="a5545e76-fda9-4675-921a-595f25aeea74" providerId="ADAL" clId="{247EED82-E09A-4312-AC47-446A4D2304A0}" dt="2023-06-16T12:45:05.529" v="232" actId="20577"/>
          <ac:spMkLst>
            <pc:docMk/>
            <pc:sldMk cId="3245849893" sldId="418"/>
            <ac:spMk id="10" creationId="{CE9B8DB2-B585-4E37-9376-8D3B034FE9AA}"/>
          </ac:spMkLst>
        </pc:spChg>
      </pc:sldChg>
      <pc:sldChg chg="modSp mod">
        <pc:chgData name="NARH (Anna Rabocha)" userId="a5545e76-fda9-4675-921a-595f25aeea74" providerId="ADAL" clId="{247EED82-E09A-4312-AC47-446A4D2304A0}" dt="2023-06-16T12:17:53.913" v="16" actId="20577"/>
        <pc:sldMkLst>
          <pc:docMk/>
          <pc:sldMk cId="1295546014" sldId="455"/>
        </pc:sldMkLst>
        <pc:spChg chg="mod">
          <ac:chgData name="NARH (Anna Rabocha)" userId="a5545e76-fda9-4675-921a-595f25aeea74" providerId="ADAL" clId="{247EED82-E09A-4312-AC47-446A4D2304A0}" dt="2023-06-16T12:17:53.913" v="16" actId="20577"/>
          <ac:spMkLst>
            <pc:docMk/>
            <pc:sldMk cId="1295546014" sldId="455"/>
            <ac:spMk id="2" creationId="{99A811EC-5C3E-43FA-A261-F9042973A2B8}"/>
          </ac:spMkLst>
        </pc:spChg>
        <pc:spChg chg="mod">
          <ac:chgData name="NARH (Anna Rabocha)" userId="a5545e76-fda9-4675-921a-595f25aeea74" providerId="ADAL" clId="{247EED82-E09A-4312-AC47-446A4D2304A0}" dt="2023-06-16T12:17:46.872" v="6" actId="1076"/>
          <ac:spMkLst>
            <pc:docMk/>
            <pc:sldMk cId="1295546014" sldId="455"/>
            <ac:spMk id="3" creationId="{A975643E-1DFE-4DC9-AF23-B08E216877C1}"/>
          </ac:spMkLst>
        </pc:spChg>
      </pc:sldChg>
      <pc:sldChg chg="modSp mod">
        <pc:chgData name="NARH (Anna Rabocha)" userId="a5545e76-fda9-4675-921a-595f25aeea74" providerId="ADAL" clId="{247EED82-E09A-4312-AC47-446A4D2304A0}" dt="2023-06-16T12:18:12.687" v="24" actId="20577"/>
        <pc:sldMkLst>
          <pc:docMk/>
          <pc:sldMk cId="2821796990" sldId="456"/>
        </pc:sldMkLst>
        <pc:spChg chg="mod">
          <ac:chgData name="NARH (Anna Rabocha)" userId="a5545e76-fda9-4675-921a-595f25aeea74" providerId="ADAL" clId="{247EED82-E09A-4312-AC47-446A4D2304A0}" dt="2023-06-16T12:18:12.687" v="24" actId="20577"/>
          <ac:spMkLst>
            <pc:docMk/>
            <pc:sldMk cId="2821796990" sldId="456"/>
            <ac:spMk id="2" creationId="{0E06BFF3-242B-4FA3-805E-3FE305F3FCDD}"/>
          </ac:spMkLst>
        </pc:spChg>
        <pc:spChg chg="mod">
          <ac:chgData name="NARH (Anna Rabocha)" userId="a5545e76-fda9-4675-921a-595f25aeea74" providerId="ADAL" clId="{247EED82-E09A-4312-AC47-446A4D2304A0}" dt="2023-06-16T12:18:04.184" v="21" actId="20577"/>
          <ac:spMkLst>
            <pc:docMk/>
            <pc:sldMk cId="2821796990" sldId="456"/>
            <ac:spMk id="3" creationId="{43670EE5-7529-4E8A-875C-242E50844EFC}"/>
          </ac:spMkLst>
        </pc:spChg>
      </pc:sldChg>
      <pc:sldChg chg="delSp modSp mod">
        <pc:chgData name="NARH (Anna Rabocha)" userId="a5545e76-fda9-4675-921a-595f25aeea74" providerId="ADAL" clId="{247EED82-E09A-4312-AC47-446A4D2304A0}" dt="2023-06-16T12:23:46.295" v="95" actId="404"/>
        <pc:sldMkLst>
          <pc:docMk/>
          <pc:sldMk cId="1040221484" sldId="458"/>
        </pc:sldMkLst>
        <pc:spChg chg="mod">
          <ac:chgData name="NARH (Anna Rabocha)" userId="a5545e76-fda9-4675-921a-595f25aeea74" providerId="ADAL" clId="{247EED82-E09A-4312-AC47-446A4D2304A0}" dt="2023-06-16T12:23:46.295" v="95" actId="404"/>
          <ac:spMkLst>
            <pc:docMk/>
            <pc:sldMk cId="1040221484" sldId="458"/>
            <ac:spMk id="2" creationId="{81656911-1D96-4F96-8D90-CF5CF9B5611D}"/>
          </ac:spMkLst>
        </pc:spChg>
        <pc:spChg chg="mod">
          <ac:chgData name="NARH (Anna Rabocha)" userId="a5545e76-fda9-4675-921a-595f25aeea74" providerId="ADAL" clId="{247EED82-E09A-4312-AC47-446A4D2304A0}" dt="2023-06-16T12:23:40.880" v="92" actId="1076"/>
          <ac:spMkLst>
            <pc:docMk/>
            <pc:sldMk cId="1040221484" sldId="458"/>
            <ac:spMk id="7" creationId="{968D39F9-126C-4549-8663-D6375957894A}"/>
          </ac:spMkLst>
        </pc:spChg>
        <pc:spChg chg="del mod">
          <ac:chgData name="NARH (Anna Rabocha)" userId="a5545e76-fda9-4675-921a-595f25aeea74" providerId="ADAL" clId="{247EED82-E09A-4312-AC47-446A4D2304A0}" dt="2023-06-16T12:23:41.261" v="94"/>
          <ac:spMkLst>
            <pc:docMk/>
            <pc:sldMk cId="1040221484" sldId="458"/>
            <ac:spMk id="8" creationId="{8DA62327-2555-4AAC-B2A0-3FE9A2FD239F}"/>
          </ac:spMkLst>
        </pc:spChg>
      </pc:sldChg>
      <pc:sldChg chg="addSp delSp modSp mod">
        <pc:chgData name="NARH (Anna Rabocha)" userId="a5545e76-fda9-4675-921a-595f25aeea74" providerId="ADAL" clId="{247EED82-E09A-4312-AC47-446A4D2304A0}" dt="2023-06-16T12:58:52.221" v="385" actId="6549"/>
        <pc:sldMkLst>
          <pc:docMk/>
          <pc:sldMk cId="628445125" sldId="459"/>
        </pc:sldMkLst>
        <pc:spChg chg="add del">
          <ac:chgData name="NARH (Anna Rabocha)" userId="a5545e76-fda9-4675-921a-595f25aeea74" providerId="ADAL" clId="{247EED82-E09A-4312-AC47-446A4D2304A0}" dt="2023-06-16T12:27:05.131" v="103"/>
          <ac:spMkLst>
            <pc:docMk/>
            <pc:sldMk cId="628445125" sldId="459"/>
            <ac:spMk id="2" creationId="{3CAB86F1-DDE4-3B9E-16FC-8A773F41CAE1}"/>
          </ac:spMkLst>
        </pc:spChg>
        <pc:spChg chg="mod">
          <ac:chgData name="NARH (Anna Rabocha)" userId="a5545e76-fda9-4675-921a-595f25aeea74" providerId="ADAL" clId="{247EED82-E09A-4312-AC47-446A4D2304A0}" dt="2023-06-16T12:27:15.845" v="106" actId="1076"/>
          <ac:spMkLst>
            <pc:docMk/>
            <pc:sldMk cId="628445125" sldId="459"/>
            <ac:spMk id="6" creationId="{829B9A37-634C-4809-BD49-D697F6AB060F}"/>
          </ac:spMkLst>
        </pc:spChg>
        <pc:spChg chg="mod">
          <ac:chgData name="NARH (Anna Rabocha)" userId="a5545e76-fda9-4675-921a-595f25aeea74" providerId="ADAL" clId="{247EED82-E09A-4312-AC47-446A4D2304A0}" dt="2023-06-16T12:25:20.925" v="98" actId="1076"/>
          <ac:spMkLst>
            <pc:docMk/>
            <pc:sldMk cId="628445125" sldId="459"/>
            <ac:spMk id="9" creationId="{CACF0C3B-2110-4E0A-9691-84A2618F7B97}"/>
          </ac:spMkLst>
        </pc:spChg>
        <pc:spChg chg="mod">
          <ac:chgData name="NARH (Anna Rabocha)" userId="a5545e76-fda9-4675-921a-595f25aeea74" providerId="ADAL" clId="{247EED82-E09A-4312-AC47-446A4D2304A0}" dt="2023-06-16T12:27:22.987" v="107" actId="1076"/>
          <ac:spMkLst>
            <pc:docMk/>
            <pc:sldMk cId="628445125" sldId="459"/>
            <ac:spMk id="10" creationId="{6EC0DCC1-5A00-40AA-9883-79B15EAD5A31}"/>
          </ac:spMkLst>
        </pc:spChg>
        <pc:spChg chg="mod">
          <ac:chgData name="NARH (Anna Rabocha)" userId="a5545e76-fda9-4675-921a-595f25aeea74" providerId="ADAL" clId="{247EED82-E09A-4312-AC47-446A4D2304A0}" dt="2023-06-16T12:26:31.202" v="101"/>
          <ac:spMkLst>
            <pc:docMk/>
            <pc:sldMk cId="628445125" sldId="459"/>
            <ac:spMk id="11" creationId="{758CB4C2-B0BE-4AA9-B11B-C5A9539E0418}"/>
          </ac:spMkLst>
        </pc:spChg>
        <pc:spChg chg="mod">
          <ac:chgData name="NARH (Anna Rabocha)" userId="a5545e76-fda9-4675-921a-595f25aeea74" providerId="ADAL" clId="{247EED82-E09A-4312-AC47-446A4D2304A0}" dt="2023-06-16T12:58:52.221" v="385" actId="6549"/>
          <ac:spMkLst>
            <pc:docMk/>
            <pc:sldMk cId="628445125" sldId="459"/>
            <ac:spMk id="12" creationId="{33AA2B58-A3E2-46C6-A880-437C59AB4D01}"/>
          </ac:spMkLst>
        </pc:spChg>
      </pc:sldChg>
      <pc:sldChg chg="modSp mod">
        <pc:chgData name="NARH (Anna Rabocha)" userId="a5545e76-fda9-4675-921a-595f25aeea74" providerId="ADAL" clId="{247EED82-E09A-4312-AC47-446A4D2304A0}" dt="2023-06-16T12:22:08.782" v="57" actId="20577"/>
        <pc:sldMkLst>
          <pc:docMk/>
          <pc:sldMk cId="319302502" sldId="504"/>
        </pc:sldMkLst>
        <pc:spChg chg="mod">
          <ac:chgData name="NARH (Anna Rabocha)" userId="a5545e76-fda9-4675-921a-595f25aeea74" providerId="ADAL" clId="{247EED82-E09A-4312-AC47-446A4D2304A0}" dt="2023-06-16T12:22:08.782" v="57" actId="20577"/>
          <ac:spMkLst>
            <pc:docMk/>
            <pc:sldMk cId="319302502" sldId="504"/>
            <ac:spMk id="6" creationId="{00000000-0000-0000-0000-000000000000}"/>
          </ac:spMkLst>
        </pc:spChg>
        <pc:spChg chg="mod">
          <ac:chgData name="NARH (Anna Rabocha)" userId="a5545e76-fda9-4675-921a-595f25aeea74" providerId="ADAL" clId="{247EED82-E09A-4312-AC47-446A4D2304A0}" dt="2023-06-16T12:21:34.820" v="33" actId="6549"/>
          <ac:spMkLst>
            <pc:docMk/>
            <pc:sldMk cId="319302502" sldId="504"/>
            <ac:spMk id="9" creationId="{00000000-0000-0000-0000-000000000000}"/>
          </ac:spMkLst>
        </pc:spChg>
        <pc:spChg chg="mod">
          <ac:chgData name="NARH (Anna Rabocha)" userId="a5545e76-fda9-4675-921a-595f25aeea74" providerId="ADAL" clId="{247EED82-E09A-4312-AC47-446A4D2304A0}" dt="2023-06-16T12:21:45.526" v="35" actId="20577"/>
          <ac:spMkLst>
            <pc:docMk/>
            <pc:sldMk cId="319302502" sldId="504"/>
            <ac:spMk id="27" creationId="{00000000-0000-0000-0000-000000000000}"/>
          </ac:spMkLst>
        </pc:spChg>
      </pc:sldChg>
      <pc:sldChg chg="addSp modSp new mod">
        <pc:chgData name="NARH (Anna Rabocha)" userId="a5545e76-fda9-4675-921a-595f25aeea74" providerId="ADAL" clId="{247EED82-E09A-4312-AC47-446A4D2304A0}" dt="2023-06-16T12:59:02.924" v="386"/>
        <pc:sldMkLst>
          <pc:docMk/>
          <pc:sldMk cId="1230044369" sldId="506"/>
        </pc:sldMkLst>
        <pc:spChg chg="mod">
          <ac:chgData name="NARH (Anna Rabocha)" userId="a5545e76-fda9-4675-921a-595f25aeea74" providerId="ADAL" clId="{247EED82-E09A-4312-AC47-446A4D2304A0}" dt="2023-06-16T12:57:04.161" v="347" actId="6549"/>
          <ac:spMkLst>
            <pc:docMk/>
            <pc:sldMk cId="1230044369" sldId="506"/>
            <ac:spMk id="2" creationId="{B67D9A62-E5A5-BFA8-AEF5-1A6DB47CD149}"/>
          </ac:spMkLst>
        </pc:spChg>
        <pc:spChg chg="mod">
          <ac:chgData name="NARH (Anna Rabocha)" userId="a5545e76-fda9-4675-921a-595f25aeea74" providerId="ADAL" clId="{247EED82-E09A-4312-AC47-446A4D2304A0}" dt="2023-06-16T12:52:02.156" v="325"/>
          <ac:spMkLst>
            <pc:docMk/>
            <pc:sldMk cId="1230044369" sldId="506"/>
            <ac:spMk id="3" creationId="{5277A390-0776-CAAE-6783-FADCFC9284D6}"/>
          </ac:spMkLst>
        </pc:spChg>
        <pc:spChg chg="add mod">
          <ac:chgData name="NARH (Anna Rabocha)" userId="a5545e76-fda9-4675-921a-595f25aeea74" providerId="ADAL" clId="{247EED82-E09A-4312-AC47-446A4D2304A0}" dt="2023-06-16T12:59:02.924" v="386"/>
          <ac:spMkLst>
            <pc:docMk/>
            <pc:sldMk cId="1230044369" sldId="506"/>
            <ac:spMk id="7" creationId="{2B67E9B6-AA4B-BFCC-D31A-0E18229E93D5}"/>
          </ac:spMkLst>
        </pc:spChg>
      </pc:sldChg>
      <pc:sldChg chg="addSp delSp modSp new mod">
        <pc:chgData name="NARH (Anna Rabocha)" userId="a5545e76-fda9-4675-921a-595f25aeea74" providerId="ADAL" clId="{247EED82-E09A-4312-AC47-446A4D2304A0}" dt="2023-06-16T12:59:06.302" v="387"/>
        <pc:sldMkLst>
          <pc:docMk/>
          <pc:sldMk cId="2563009507" sldId="507"/>
        </pc:sldMkLst>
        <pc:spChg chg="mod">
          <ac:chgData name="NARH (Anna Rabocha)" userId="a5545e76-fda9-4675-921a-595f25aeea74" providerId="ADAL" clId="{247EED82-E09A-4312-AC47-446A4D2304A0}" dt="2023-06-16T12:58:20.996" v="357" actId="114"/>
          <ac:spMkLst>
            <pc:docMk/>
            <pc:sldMk cId="2563009507" sldId="507"/>
            <ac:spMk id="2" creationId="{5C5FD9ED-CBFA-D66D-624F-FFF725A59899}"/>
          </ac:spMkLst>
        </pc:spChg>
        <pc:spChg chg="del">
          <ac:chgData name="NARH (Anna Rabocha)" userId="a5545e76-fda9-4675-921a-595f25aeea74" providerId="ADAL" clId="{247EED82-E09A-4312-AC47-446A4D2304A0}" dt="2023-06-16T12:57:45.846" v="350"/>
          <ac:spMkLst>
            <pc:docMk/>
            <pc:sldMk cId="2563009507" sldId="507"/>
            <ac:spMk id="3" creationId="{D3F2A557-7000-5CC5-2B9D-9009D2D79CD4}"/>
          </ac:spMkLst>
        </pc:spChg>
        <pc:spChg chg="add mod">
          <ac:chgData name="NARH (Anna Rabocha)" userId="a5545e76-fda9-4675-921a-595f25aeea74" providerId="ADAL" clId="{247EED82-E09A-4312-AC47-446A4D2304A0}" dt="2023-06-16T12:57:45.846" v="350"/>
          <ac:spMkLst>
            <pc:docMk/>
            <pc:sldMk cId="2563009507" sldId="507"/>
            <ac:spMk id="7" creationId="{85F1661E-706F-3DAA-A0A4-E7683CFA26DC}"/>
          </ac:spMkLst>
        </pc:spChg>
        <pc:spChg chg="add mod">
          <ac:chgData name="NARH (Anna Rabocha)" userId="a5545e76-fda9-4675-921a-595f25aeea74" providerId="ADAL" clId="{247EED82-E09A-4312-AC47-446A4D2304A0}" dt="2023-06-16T12:59:06.302" v="387"/>
          <ac:spMkLst>
            <pc:docMk/>
            <pc:sldMk cId="2563009507" sldId="507"/>
            <ac:spMk id="8" creationId="{CEC92787-0E55-FB25-D45A-E29D2A1BC6B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2321" y="216000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454121" y="216000"/>
            <a:ext cx="2926582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FD51D3D3-FD18-4681-9F4D-FACA76A9F716}" type="datetimeFigureOut">
              <a:rPr lang="en-GB" sz="900" smtClean="0"/>
              <a:t>16/09/2023</a:t>
            </a:fld>
            <a:endParaRPr lang="en-GB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2321" y="349695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200"/>
            </a:lvl1pPr>
          </a:lstStyle>
          <a:p>
            <a:endParaRPr lang="en-GB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454121" y="349695"/>
            <a:ext cx="2926582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fld id="{4E4F0B25-6B6C-417F-8A5F-3AB6073F7C55}" type="slidenum">
              <a:rPr lang="en-GB" sz="900" smtClean="0"/>
              <a:t>‹#›</a:t>
            </a:fld>
            <a:endParaRPr lang="en-GB" sz="9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2754565-3103-4E1D-9A19-A0CF63265F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75" y="8493549"/>
            <a:ext cx="599507" cy="42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66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82321" y="214453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454121" y="214453"/>
            <a:ext cx="2918126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6B8772CB-E7B8-41C1-95DC-B7BED37C05AE}" type="datetimeFigureOut">
              <a:rPr lang="en-GB" smtClean="0"/>
              <a:pPr/>
              <a:t>16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393644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82321" y="359030"/>
            <a:ext cx="2971800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454121" y="359030"/>
            <a:ext cx="2918126" cy="1296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/>
            </a:lvl1pPr>
          </a:lstStyle>
          <a:p>
            <a:fld id="{576E89B1-B476-4C59-A1AE-E6F2A1941AB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AE3370A-3BFD-4E41-B726-A7D58CBC6D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75" y="8493549"/>
            <a:ext cx="599507" cy="42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798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b="1" dirty="0">
                <a:solidFill>
                  <a:schemeClr val="tx1"/>
                </a:solidFill>
              </a:rPr>
              <a:t>Key messages</a:t>
            </a:r>
          </a:p>
          <a:p>
            <a:pPr marL="169663" indent="-169663">
              <a:buFont typeface="Arial" pitchFamily="34" charset="0"/>
              <a:buChar char="•"/>
              <a:defRPr/>
            </a:pPr>
            <a:r>
              <a:rPr lang="en-GB" dirty="0">
                <a:solidFill>
                  <a:schemeClr val="tx1"/>
                </a:solidFill>
              </a:rPr>
              <a:t>Standard Novo Nordisk vial enables easy reconstitution with the </a:t>
            </a:r>
            <a:r>
              <a:rPr lang="en-GB" dirty="0" err="1">
                <a:solidFill>
                  <a:schemeClr val="tx1"/>
                </a:solidFill>
              </a:rPr>
              <a:t>MixPro</a:t>
            </a:r>
            <a:r>
              <a:rPr lang="en-GB" baseline="30000" dirty="0">
                <a:solidFill>
                  <a:schemeClr val="tx1"/>
                </a:solidFill>
              </a:rPr>
              <a:t>®</a:t>
            </a:r>
            <a:r>
              <a:rPr lang="en-GB" dirty="0">
                <a:solidFill>
                  <a:schemeClr val="tx1"/>
                </a:solidFill>
              </a:rPr>
              <a:t> device </a:t>
            </a:r>
          </a:p>
          <a:p>
            <a:pPr marL="169663" marR="0" lvl="0" indent="-169663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GB" dirty="0"/>
              <a:t>turoctocog </a:t>
            </a:r>
            <a:r>
              <a:rPr lang="en-GB" dirty="0" err="1"/>
              <a:t>alfa</a:t>
            </a:r>
            <a:r>
              <a:rPr lang="en-GB" dirty="0"/>
              <a:t> is available in 6 vial sizes</a:t>
            </a:r>
          </a:p>
          <a:p>
            <a:pPr marL="169663" indent="-169663">
              <a:buFont typeface="Arial" pitchFamily="34" charset="0"/>
              <a:buChar char="•"/>
              <a:defRPr/>
            </a:pPr>
            <a:endParaRPr lang="en-GB" dirty="0">
              <a:solidFill>
                <a:schemeClr val="tx1"/>
              </a:solidFill>
            </a:endParaRPr>
          </a:p>
          <a:p>
            <a:pPr marL="169663" indent="-169663">
              <a:buFont typeface="Arial" pitchFamily="34" charset="0"/>
              <a:buChar char="•"/>
              <a:defRPr/>
            </a:pPr>
            <a:endParaRPr lang="en-GB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en-GB" b="1" dirty="0">
                <a:solidFill>
                  <a:schemeClr val="tx1"/>
                </a:solidFill>
              </a:rPr>
              <a:t>References</a:t>
            </a:r>
          </a:p>
          <a:p>
            <a:pPr marL="228783" indent="-228783" defTabSz="915132">
              <a:buFont typeface="+mj-lt"/>
              <a:buAutoNum type="arabicPeriod"/>
              <a:defRPr/>
            </a:pPr>
            <a:r>
              <a:rPr lang="en-CA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 Nordisk. </a:t>
            </a:r>
            <a:r>
              <a:rPr lang="en-CA" dirty="0" err="1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Eight</a:t>
            </a:r>
            <a:r>
              <a:rPr lang="en-CA" baseline="30000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®</a:t>
            </a:r>
            <a:r>
              <a:rPr lang="en-CA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CA" dirty="0" err="1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mPC</a:t>
            </a:r>
            <a:r>
              <a:rPr lang="en-CA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2018</a:t>
            </a:r>
          </a:p>
          <a:p>
            <a:pPr marL="228783" indent="-228783" defTabSz="915132">
              <a:buFont typeface="+mj-lt"/>
              <a:buAutoNum type="arabicPeriod"/>
              <a:defRPr/>
            </a:pPr>
            <a:r>
              <a:rPr lang="en-CA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 Nordisk. </a:t>
            </a:r>
            <a:r>
              <a:rPr lang="en-CA" dirty="0" err="1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Eight</a:t>
            </a:r>
            <a:r>
              <a:rPr lang="en-CA" baseline="30000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®</a:t>
            </a:r>
            <a:r>
              <a:rPr lang="en-CA" dirty="0">
                <a:solidFill>
                  <a:srgbClr val="001965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PI 2018</a:t>
            </a:r>
            <a:endParaRPr lang="en-GB" dirty="0">
              <a:solidFill>
                <a:srgbClr val="001965"/>
              </a:solidFill>
            </a:endParaRPr>
          </a:p>
          <a:p>
            <a:pPr marL="169663" indent="-169663">
              <a:buFont typeface="Arial" pitchFamily="34" charset="0"/>
              <a:buChar char="•"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45BCA99-4332-4F9E-BD42-D4DEA1A5C271}" type="slidenum">
              <a:rPr lang="da-DK" smtClean="0"/>
              <a:pPr>
                <a:defRPr/>
              </a:pPr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3868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4.xml"/><Relationship Id="rId4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5.xml"/><Relationship Id="rId4" Type="http://schemas.openxmlformats.org/officeDocument/2006/relationships/tags" Target="../tags/tag10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6.xml"/><Relationship Id="rId4" Type="http://schemas.openxmlformats.org/officeDocument/2006/relationships/tags" Target="../tags/tag16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4.emf"/><Relationship Id="rId4" Type="http://schemas.openxmlformats.org/officeDocument/2006/relationships/tags" Target="../tags/tag38.xml"/><Relationship Id="rId9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Select="1" noRot="1" noMove="1" noResize="1" noEditPoints="1" noAdjustHandles="1" noChangeArrowheads="1" noChangeShapeType="1" noTextEdit="1"/>
          </p:cNvSpPr>
          <p:nvPr>
            <p:ph type="ctrTitle"/>
            <p:custDataLst>
              <p:tags r:id="rId1"/>
            </p:custDataLst>
          </p:nvPr>
        </p:nvSpPr>
        <p:spPr>
          <a:xfrm>
            <a:off x="5284800" y="1312863"/>
            <a:ext cx="3542400" cy="1531543"/>
          </a:xfr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283881" y="3025462"/>
            <a:ext cx="3543319" cy="68458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1952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9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1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5"/>
            </p:custDataLst>
          </p:nvPr>
        </p:nvSpPr>
        <p:spPr>
          <a:xfrm>
            <a:off x="4730400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6"/>
            <p:custDataLst>
              <p:tags r:id="rId6"/>
            </p:custDataLst>
          </p:nvPr>
        </p:nvSpPr>
        <p:spPr>
          <a:xfrm>
            <a:off x="316801" y="1312223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7"/>
            <p:custDataLst>
              <p:tags r:id="rId7"/>
            </p:custDataLst>
          </p:nvPr>
        </p:nvSpPr>
        <p:spPr>
          <a:xfrm>
            <a:off x="4729512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8"/>
            <p:custDataLst>
              <p:tags r:id="rId8"/>
            </p:custDataLst>
          </p:nvPr>
        </p:nvSpPr>
        <p:spPr>
          <a:xfrm>
            <a:off x="315913" y="2873480"/>
            <a:ext cx="40968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12369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3"/>
            </p:custDataLst>
          </p:nvPr>
        </p:nvSpPr>
        <p:spPr>
          <a:xfrm>
            <a:off x="3260375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/>
            <p:custDataLst>
              <p:tags r:id="rId4"/>
            </p:custDataLst>
          </p:nvPr>
        </p:nvSpPr>
        <p:spPr>
          <a:xfrm>
            <a:off x="6203950" y="1312223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/>
            <p:custDataLst>
              <p:tags r:id="rId5"/>
            </p:custDataLst>
          </p:nvPr>
        </p:nvSpPr>
        <p:spPr>
          <a:xfrm>
            <a:off x="31680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3"/>
            <p:custDataLst>
              <p:tags r:id="rId6"/>
            </p:custDataLst>
          </p:nvPr>
        </p:nvSpPr>
        <p:spPr>
          <a:xfrm>
            <a:off x="3260375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4"/>
            <p:custDataLst>
              <p:tags r:id="rId7"/>
            </p:custDataLst>
          </p:nvPr>
        </p:nvSpPr>
        <p:spPr>
          <a:xfrm>
            <a:off x="6203950" y="2873480"/>
            <a:ext cx="2623250" cy="139689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8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6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7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416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914400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935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9144000" cy="2648932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/>
            <p:custDataLst>
              <p:tags r:id="rId2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942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1312224"/>
            <a:ext cx="9144000" cy="2955788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1742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0" y="0"/>
            <a:ext cx="4566390" cy="51435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4873445" y="515420"/>
            <a:ext cx="3953755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/>
            <p:custDataLst>
              <p:tags r:id="rId3"/>
            </p:custDataLst>
          </p:nvPr>
        </p:nvSpPr>
        <p:spPr>
          <a:xfrm>
            <a:off x="4873445" y="1312223"/>
            <a:ext cx="3953755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873445" y="103907"/>
            <a:ext cx="2199874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972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316800" y="1312224"/>
            <a:ext cx="8510400" cy="2955788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804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731411" y="1312224"/>
            <a:ext cx="4093768" cy="2955788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9566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1"/>
            </p:custDataLst>
          </p:nvPr>
        </p:nvSpPr>
        <p:spPr>
          <a:xfrm>
            <a:off x="318821" y="1312223"/>
            <a:ext cx="556463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202272" y="1312224"/>
            <a:ext cx="2624927" cy="2955788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3167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1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2"/>
            </p:custDataLst>
          </p:nvPr>
        </p:nvSpPr>
        <p:spPr>
          <a:xfrm>
            <a:off x="318821" y="1312223"/>
            <a:ext cx="6308887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11315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1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1811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8"/>
            <p:custDataLst>
              <p:tags r:id="rId1"/>
            </p:custDataLst>
          </p:nvPr>
        </p:nvSpPr>
        <p:spPr>
          <a:xfrm>
            <a:off x="318821" y="1312223"/>
            <a:ext cx="4099651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3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4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8361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7"/>
            <p:custDataLst>
              <p:tags r:id="rId2"/>
            </p:custDataLst>
          </p:nvPr>
        </p:nvSpPr>
        <p:spPr>
          <a:xfrm>
            <a:off x="6937200" y="1312224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8"/>
            <p:custDataLst>
              <p:tags r:id="rId3"/>
            </p:custDataLst>
          </p:nvPr>
        </p:nvSpPr>
        <p:spPr>
          <a:xfrm>
            <a:off x="4726874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29"/>
            <p:custDataLst>
              <p:tags r:id="rId4"/>
            </p:custDataLst>
          </p:nvPr>
        </p:nvSpPr>
        <p:spPr>
          <a:xfrm>
            <a:off x="2521837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pic" sz="quarter" idx="30"/>
            <p:custDataLst>
              <p:tags r:id="rId5"/>
            </p:custDataLst>
          </p:nvPr>
        </p:nvSpPr>
        <p:spPr>
          <a:xfrm>
            <a:off x="316800" y="1312222"/>
            <a:ext cx="1890000" cy="2955788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4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8047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3"/>
            <p:custDataLst>
              <p:tags r:id="rId1"/>
            </p:custDataLst>
          </p:nvPr>
        </p:nvSpPr>
        <p:spPr>
          <a:xfrm>
            <a:off x="318821" y="1312223"/>
            <a:ext cx="2923653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2"/>
            </p:custDataLst>
          </p:nvPr>
        </p:nvSpPr>
        <p:spPr>
          <a:xfrm>
            <a:off x="3578125" y="1309927"/>
            <a:ext cx="5258820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/9</a:t>
            </a:r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5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113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5" hasCustomPrompt="1"/>
            <p:custDataLst>
              <p:tags r:id="rId1"/>
            </p:custDataLst>
          </p:nvPr>
        </p:nvSpPr>
        <p:spPr>
          <a:xfrm>
            <a:off x="4891539" y="1309927"/>
            <a:ext cx="3945406" cy="2958085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4/3</a:t>
            </a:r>
          </a:p>
        </p:txBody>
      </p:sp>
      <p:sp>
        <p:nvSpPr>
          <p:cNvPr id="1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4"/>
            <p:custDataLst>
              <p:tags r:id="rId2"/>
            </p:custDataLst>
          </p:nvPr>
        </p:nvSpPr>
        <p:spPr>
          <a:xfrm>
            <a:off x="318821" y="1312223"/>
            <a:ext cx="4251592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520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 noSelect="1" noRot="1" noMove="1" noResize="1" noEditPoints="1" noAdjustHandles="1" noChangeArrowheads="1" noChangeShapeType="1" noTextEdit="1"/>
          </p:cNvSpPr>
          <p:nvPr>
            <p:ph type="media" sz="quarter" idx="18" hasCustomPrompt="1"/>
            <p:custDataLst>
              <p:tags r:id="rId1"/>
            </p:custDataLst>
          </p:nvPr>
        </p:nvSpPr>
        <p:spPr>
          <a:xfrm>
            <a:off x="0" y="-1"/>
            <a:ext cx="9144000" cy="51434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:9</a:t>
            </a:r>
          </a:p>
        </p:txBody>
      </p:sp>
      <p:sp>
        <p:nvSpPr>
          <p:cNvPr id="11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PowerPoint Presentation</a:t>
            </a:r>
            <a:endParaRPr lang="en-GB" dirty="0"/>
          </a:p>
        </p:txBody>
      </p:sp>
      <p:sp>
        <p:nvSpPr>
          <p:cNvPr id="12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50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12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514822" y="105050"/>
            <a:ext cx="312378" cy="1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2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432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(Small text siz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1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 marL="180975" indent="-180975">
              <a:buClr>
                <a:schemeClr val="accent1"/>
              </a:buClr>
              <a:defRPr sz="1200">
                <a:solidFill>
                  <a:schemeClr val="accent2"/>
                </a:solidFill>
              </a:defRPr>
            </a:lvl1pPr>
            <a:lvl2pPr marL="357188" indent="-176213">
              <a:buClr>
                <a:schemeClr val="tx2"/>
              </a:buClr>
              <a:defRPr sz="1100">
                <a:solidFill>
                  <a:schemeClr val="accent2"/>
                </a:solidFill>
              </a:defRPr>
            </a:lvl2pPr>
            <a:lvl3pPr marL="538163" indent="-180975">
              <a:buClr>
                <a:schemeClr val="accent5"/>
              </a:buClr>
              <a:defRPr sz="1050">
                <a:solidFill>
                  <a:schemeClr val="accent2"/>
                </a:solidFill>
              </a:defRPr>
            </a:lvl3pPr>
            <a:lvl4pPr marL="719138" indent="-180975">
              <a:buClr>
                <a:schemeClr val="accent3"/>
              </a:buClr>
              <a:defRPr sz="1000">
                <a:solidFill>
                  <a:schemeClr val="accent2"/>
                </a:solidFill>
              </a:defRPr>
            </a:lvl4pPr>
            <a:lvl5pPr marL="896938" indent="-177800">
              <a:buClr>
                <a:srgbClr val="001423"/>
              </a:buClr>
              <a:defRPr sz="900">
                <a:solidFill>
                  <a:schemeClr val="accent2"/>
                </a:solidFill>
              </a:defRPr>
            </a:lvl5pPr>
            <a:lvl6pPr>
              <a:defRPr sz="1200"/>
            </a:lvl6pPr>
            <a:lvl7pPr>
              <a:defRPr sz="1200"/>
            </a:lvl7pPr>
            <a:lvl8pPr marL="180975" indent="-180975">
              <a:defRPr sz="1100"/>
            </a:lvl8pPr>
            <a:lvl9pPr marL="357188" indent="-176213">
              <a:defRPr sz="105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Presentation title</a:t>
            </a:r>
          </a:p>
        </p:txBody>
      </p:sp>
      <p:sp>
        <p:nvSpPr>
          <p:cNvPr id="8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4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 dirty="0"/>
              <a:t>Date</a:t>
            </a:r>
          </a:p>
        </p:txBody>
      </p:sp>
      <p:sp>
        <p:nvSpPr>
          <p:cNvPr id="9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2921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1"/>
            </p:custDataLst>
          </p:nvPr>
        </p:nvSpPr>
        <p:spPr bwMode="auto">
          <a:xfrm>
            <a:off x="316800" y="309039"/>
            <a:ext cx="8510400" cy="3958973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1" i="0" u="none" strike="noStrike" cap="none" normalizeH="0" baseline="0" noProof="0">
              <a:ln>
                <a:noFill/>
              </a:ln>
              <a:solidFill>
                <a:srgbClr val="001965"/>
              </a:solidFill>
              <a:effectLst/>
              <a:latin typeface="Verdana" pitchFamily="34" charset="0"/>
            </a:endParaRPr>
          </a:p>
        </p:txBody>
      </p:sp>
      <p:sp>
        <p:nvSpPr>
          <p:cNvPr id="21" name="Title 6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2"/>
            </p:custDataLst>
          </p:nvPr>
        </p:nvSpPr>
        <p:spPr bwMode="auto">
          <a:xfrm>
            <a:off x="318821" y="577310"/>
            <a:ext cx="8518124" cy="3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noProof="0" dirty="0"/>
              <a:t>Title</a:t>
            </a:r>
          </a:p>
        </p:txBody>
      </p:sp>
      <p:sp>
        <p:nvSpPr>
          <p:cNvPr id="15" name="TextBox 14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3"/>
            </p:custDataLst>
          </p:nvPr>
        </p:nvSpPr>
        <p:spPr>
          <a:xfrm>
            <a:off x="2748809" y="2524536"/>
            <a:ext cx="36333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0" noProof="0" dirty="0">
                <a:solidFill>
                  <a:schemeClr val="accent5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4"/>
            </p:custDataLst>
          </p:nvPr>
        </p:nvSpPr>
        <p:spPr>
          <a:xfrm>
            <a:off x="318820" y="1312223"/>
            <a:ext cx="8518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noProof="0"/>
          </a:p>
        </p:txBody>
      </p:sp>
      <p:sp>
        <p:nvSpPr>
          <p:cNvPr id="30" name="Rectangle 29"/>
          <p:cNvSpPr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5"/>
            </p:custDataLst>
          </p:nvPr>
        </p:nvSpPr>
        <p:spPr bwMode="auto">
          <a:xfrm>
            <a:off x="316800" y="1312222"/>
            <a:ext cx="8510401" cy="2955789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9875" marR="0" indent="-269875" algn="l" defTabSz="12192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GB" sz="1800" b="0" i="0" u="none" strike="noStrike" cap="none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latin typeface="Verdana" pitchFamily="34" charset="0"/>
              </a:rPr>
              <a:t>Content area</a:t>
            </a:r>
          </a:p>
        </p:txBody>
      </p:sp>
      <p:sp>
        <p:nvSpPr>
          <p:cNvPr id="31" name="TextBox 30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6"/>
            </p:custDataLst>
          </p:nvPr>
        </p:nvSpPr>
        <p:spPr>
          <a:xfrm>
            <a:off x="316800" y="964459"/>
            <a:ext cx="45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0" noProof="0" dirty="0">
                <a:solidFill>
                  <a:schemeClr val="accent5"/>
                </a:solidFill>
              </a:rPr>
              <a:t>Keep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ll titles, </a:t>
            </a:r>
            <a:r>
              <a:rPr lang="en-GB" sz="1200" b="0" baseline="0" noProof="0" dirty="0" err="1">
                <a:solidFill>
                  <a:schemeClr val="accent5"/>
                </a:solidFill>
              </a:rPr>
              <a:t>trompets</a:t>
            </a:r>
            <a:r>
              <a:rPr lang="en-GB" sz="1200" b="0" baseline="0" noProof="0" dirty="0">
                <a:solidFill>
                  <a:schemeClr val="accent5"/>
                </a:solidFill>
              </a:rPr>
              <a:t> and subtitles in this area</a:t>
            </a:r>
            <a:endParaRPr lang="en-GB" sz="1200" b="0" noProof="0" dirty="0">
              <a:solidFill>
                <a:schemeClr val="accent5"/>
              </a:solidFill>
            </a:endParaRPr>
          </a:p>
        </p:txBody>
      </p:sp>
      <p:sp>
        <p:nvSpPr>
          <p:cNvPr id="32" name="TextBox 31"/>
          <p:cNvSpPr txBox="1">
            <a:spLocks noGrp="1" noSelect="1" noRot="1" noMove="1" noResize="1" noEditPoints="1" noAdjustHandles="1" noChangeArrowheads="1" noChangeShapeType="1" noTextEdit="1"/>
          </p:cNvSpPr>
          <p:nvPr userDrawn="1">
            <p:custDataLst>
              <p:tags r:id="rId7"/>
            </p:custDataLst>
          </p:nvPr>
        </p:nvSpPr>
        <p:spPr>
          <a:xfrm>
            <a:off x="4919812" y="329740"/>
            <a:ext cx="3909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200" b="0" noProof="0">
                <a:solidFill>
                  <a:schemeClr val="accent5"/>
                </a:solidFill>
              </a:rPr>
              <a:t>Never</a:t>
            </a:r>
            <a:r>
              <a:rPr lang="en-GB" sz="1200" b="0" baseline="0" noProof="0">
                <a:solidFill>
                  <a:schemeClr val="accent5"/>
                </a:solidFill>
              </a:rPr>
              <a:t> move Footer, Date and No placeholders</a:t>
            </a:r>
            <a:endParaRPr lang="en-GB" sz="1200" b="0" noProof="0">
              <a:solidFill>
                <a:schemeClr val="accent5"/>
              </a:solidFill>
            </a:endParaRPr>
          </a:p>
        </p:txBody>
      </p:sp>
      <p:sp>
        <p:nvSpPr>
          <p:cNvPr id="16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8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7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8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454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0433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1"/>
            </p:custDataLst>
          </p:nvPr>
        </p:nvSpPr>
        <p:spPr>
          <a:xfrm>
            <a:off x="316800" y="385925"/>
            <a:ext cx="8510400" cy="12864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2310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1"/>
            </p:custDataLst>
          </p:nvPr>
        </p:nvSpPr>
        <p:spPr>
          <a:xfrm>
            <a:off x="316800" y="906832"/>
            <a:ext cx="8510400" cy="199726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100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0865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8821" y="515420"/>
            <a:ext cx="6692499" cy="3754955"/>
          </a:xfrm>
        </p:spPr>
        <p:txBody>
          <a:bodyPr tIns="57600" anchor="t"/>
          <a:lstStyle>
            <a:lvl1pPr>
              <a:lnSpc>
                <a:spcPct val="90000"/>
              </a:lnSpc>
              <a:defRPr sz="6000" spc="-15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942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EC49E3-ADBB-407B-ACEF-1B35D71AD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776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EC49E3-ADBB-407B-ACEF-1B35D71AD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2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316801" y="1312223"/>
            <a:ext cx="40968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4"/>
            </p:custDataLst>
          </p:nvPr>
        </p:nvSpPr>
        <p:spPr>
          <a:xfrm>
            <a:off x="4730400" y="1312223"/>
            <a:ext cx="4096800" cy="29556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1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3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4342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0" y="1312223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25"/>
            <p:custDataLst>
              <p:tags r:id="rId3"/>
            </p:custDataLst>
          </p:nvPr>
        </p:nvSpPr>
        <p:spPr>
          <a:xfrm>
            <a:off x="316800" y="2873479"/>
            <a:ext cx="8510400" cy="1396895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3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4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3078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3"/>
            </p:custDataLst>
          </p:nvPr>
        </p:nvSpPr>
        <p:spPr>
          <a:xfrm>
            <a:off x="3260375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/>
            <p:custDataLst>
              <p:tags r:id="rId4"/>
            </p:custDataLst>
          </p:nvPr>
        </p:nvSpPr>
        <p:spPr>
          <a:xfrm>
            <a:off x="6203950" y="1312223"/>
            <a:ext cx="2623250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20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21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7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9087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316800" y="515420"/>
            <a:ext cx="8510400" cy="391412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2"/>
            </p:custDataLst>
          </p:nvPr>
        </p:nvSpPr>
        <p:spPr>
          <a:xfrm>
            <a:off x="316800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0"/>
            <p:custDataLst>
              <p:tags r:id="rId3"/>
            </p:custDataLst>
          </p:nvPr>
        </p:nvSpPr>
        <p:spPr>
          <a:xfrm>
            <a:off x="2521837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1"/>
            <p:custDataLst>
              <p:tags r:id="rId4"/>
            </p:custDataLst>
          </p:nvPr>
        </p:nvSpPr>
        <p:spPr>
          <a:xfrm>
            <a:off x="4726874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2"/>
            <p:custDataLst>
              <p:tags r:id="rId5"/>
            </p:custDataLst>
          </p:nvPr>
        </p:nvSpPr>
        <p:spPr>
          <a:xfrm>
            <a:off x="6938963" y="1312223"/>
            <a:ext cx="1888237" cy="295578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2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1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05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6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7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00668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684113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32"/>
            </p:custDataLst>
          </p:nvPr>
        </p:nvSpPr>
        <p:spPr bwMode="auto">
          <a:xfrm>
            <a:off x="8514822" y="105050"/>
            <a:ext cx="31237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3" name="Tex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type="body" idx="1"/>
            <p:custDataLst>
              <p:tags r:id="rId33"/>
            </p:custDataLst>
          </p:nvPr>
        </p:nvSpPr>
        <p:spPr>
          <a:xfrm>
            <a:off x="316800" y="1312222"/>
            <a:ext cx="8510400" cy="2955790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GB" noProof="0" dirty="0"/>
              <a:t>Level 6 no bullet 18</a:t>
            </a:r>
          </a:p>
          <a:p>
            <a:pPr lvl="6"/>
            <a:r>
              <a:rPr lang="en-GB" noProof="0" dirty="0"/>
              <a:t>Level 7 no bullet 14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 </a:t>
            </a:r>
          </a:p>
        </p:txBody>
      </p:sp>
      <p:sp>
        <p:nvSpPr>
          <p:cNvPr id="2" name="Title Placeholder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34"/>
            </p:custDataLst>
          </p:nvPr>
        </p:nvSpPr>
        <p:spPr>
          <a:xfrm>
            <a:off x="316800" y="515420"/>
            <a:ext cx="8510400" cy="3914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35"/>
            </p:custDataLst>
          </p:nvPr>
        </p:nvSpPr>
        <p:spPr bwMode="auto">
          <a:xfrm>
            <a:off x="4172956" y="103907"/>
            <a:ext cx="2900363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36"/>
            </p:custDataLst>
          </p:nvPr>
        </p:nvSpPr>
        <p:spPr bwMode="auto">
          <a:xfrm>
            <a:off x="7187153" y="103907"/>
            <a:ext cx="1201738" cy="10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F26F652-7B51-492B-A0CD-0CE9CE92E9D8}"/>
              </a:ext>
            </a:extLst>
          </p:cNvPr>
          <p:cNvPicPr>
            <a:picLocks noGrp="1" noSelect="1" noRot="1" noMove="1" noResize="1" noEditPoints="1" noAdjustHandles="1" noChangeArrowheads="1" noChangeShapeType="1"/>
          </p:cNvPicPr>
          <p:nvPr userDrawn="1">
            <p:custDataLst>
              <p:tags r:id="rId37"/>
            </p:custDataLst>
          </p:nvPr>
        </p:nvPicPr>
        <p:blipFill>
          <a:blip r:embed="rId40"/>
          <a:stretch>
            <a:fillRect/>
          </a:stretch>
        </p:blipFill>
        <p:spPr>
          <a:xfrm>
            <a:off x="8234476" y="4412594"/>
            <a:ext cx="595222" cy="42595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E2A46F7-194C-4BA9-B36F-034F6B5FAFA6}"/>
              </a:ext>
            </a:extLst>
          </p:cNvPr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>
          <a:xfrm>
            <a:off x="178595" y="4528461"/>
            <a:ext cx="909635" cy="45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633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0" r:id="rId2"/>
    <p:sldLayoutId id="2147483686" r:id="rId3"/>
    <p:sldLayoutId id="2147483687" r:id="rId4"/>
    <p:sldLayoutId id="2147483665" r:id="rId5"/>
    <p:sldLayoutId id="2147483666" r:id="rId6"/>
    <p:sldLayoutId id="2147483667" r:id="rId7"/>
    <p:sldLayoutId id="2147483685" r:id="rId8"/>
    <p:sldLayoutId id="2147483670" r:id="rId9"/>
    <p:sldLayoutId id="2147483668" r:id="rId10"/>
    <p:sldLayoutId id="2147483669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8" r:id="rId25"/>
    <p:sldLayoutId id="2147483689" r:id="rId26"/>
    <p:sldLayoutId id="2147483690" r:id="rId27"/>
    <p:sldLayoutId id="2147483684" r:id="rId28"/>
    <p:sldLayoutId id="2147483691" r:id="rId2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536575" indent="-271463" algn="l" defTabSz="91440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808038" indent="-271463" algn="l" defTabSz="91440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4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985838" indent="-177800" algn="l" defTabSz="91440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2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257300" indent="-184150" algn="l" defTabSz="91440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1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ct val="20000"/>
        </a:spcBef>
        <a:spcAft>
          <a:spcPts val="0"/>
        </a:spcAft>
        <a:buFont typeface="Arial" panose="020B0604020202020204" pitchFamily="34" charset="0"/>
        <a:buChar char="​"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ct val="2000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268288" indent="-268288" algn="l" defTabSz="914400" rtl="0" eaLnBrk="1" latinLnBrk="0" hangingPunct="1">
        <a:spcBef>
          <a:spcPct val="20000"/>
        </a:spcBef>
        <a:spcAft>
          <a:spcPts val="0"/>
        </a:spcAft>
        <a:buClr>
          <a:schemeClr val="tx2"/>
        </a:buClr>
        <a:buSzPct val="80000"/>
        <a:buFont typeface="+mj-lt"/>
        <a:buAutoNum type="arabicParenR"/>
        <a:defRPr sz="16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538163" indent="-269875" algn="l" defTabSz="914400" rtl="0" eaLnBrk="1" latinLnBrk="0" hangingPunct="1">
        <a:spcBef>
          <a:spcPts val="384"/>
        </a:spcBef>
        <a:spcAft>
          <a:spcPts val="0"/>
        </a:spcAft>
        <a:buClr>
          <a:schemeClr val="accent2"/>
        </a:buClr>
        <a:buSzPct val="80000"/>
        <a:buFont typeface="+mj-lt"/>
        <a:buAutoNum type="alphaLcParenR"/>
        <a:defRPr sz="14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5" userDrawn="1">
          <p15:clr>
            <a:srgbClr val="F26B43"/>
          </p15:clr>
        </p15:guide>
        <p15:guide id="3" pos="196" userDrawn="1">
          <p15:clr>
            <a:srgbClr val="F26B43"/>
          </p15:clr>
        </p15:guide>
        <p15:guide id="5" orient="horz" pos="3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811EC-5C3E-43FA-A261-F9042973A2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6825" y="1245114"/>
            <a:ext cx="8072090" cy="1531543"/>
          </a:xfrm>
        </p:spPr>
        <p:txBody>
          <a:bodyPr/>
          <a:lstStyle/>
          <a:p>
            <a:pPr algn="ctr"/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епарати</a:t>
            </a:r>
            <a:r>
              <a:rPr lang="en-US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ля лікування гемофілії А та гемофілії, що ускладнена інгібіторами 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75643E-1DFE-4DC9-AF23-B08E21687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8920" y="3570726"/>
            <a:ext cx="8072091" cy="684586"/>
          </a:xfrm>
        </p:spPr>
        <p:txBody>
          <a:bodyPr/>
          <a:lstStyle/>
          <a:p>
            <a:pPr algn="ctr"/>
            <a:r>
              <a:rPr lang="en-US" dirty="0"/>
              <a:t>NARH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43DF0D-A23E-426D-AD3C-CA28ED75F3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5EFAE1-03C6-4C31-9F97-E5A51E8A7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1</a:t>
            </a:fld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070E533-422B-4403-AD15-74B8E22CA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3780" y="67451"/>
            <a:ext cx="2591025" cy="1767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9554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 xmlns:a16="http://schemas.microsoft.com/office/drawing/2014/main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2870335-DF9F-4EC8-AE7E-C56A52D1D5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74065" y="1458436"/>
            <a:ext cx="5624078" cy="16377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9B9A37-634C-4809-BD49-D697F6AB060F}"/>
              </a:ext>
            </a:extLst>
          </p:cNvPr>
          <p:cNvSpPr/>
          <p:nvPr/>
        </p:nvSpPr>
        <p:spPr>
          <a:xfrm>
            <a:off x="805896" y="3390928"/>
            <a:ext cx="7663227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Будова </a:t>
            </a:r>
            <a:r>
              <a:rPr lang="en-GB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en-GB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налогічна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ндогенному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юдському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FVIIa</a:t>
            </a:r>
            <a:r>
              <a:rPr lang="en-GB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</a:t>
            </a:r>
            <a:endParaRPr lang="ru-RU" sz="135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pPr algn="ctr"/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еякими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езначними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дмінностями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сттрансляційні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35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дифікації</a:t>
            </a:r>
            <a:r>
              <a:rPr lang="ru-RU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  <a:r>
              <a:rPr lang="en-GB" sz="135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endParaRPr lang="ru-RU" sz="135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pPr algn="just"/>
            <a:endParaRPr lang="ru-RU" sz="13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DB92007-D738-49C7-8AFB-3688DDB74928}"/>
              </a:ext>
            </a:extLst>
          </p:cNvPr>
          <p:cNvSpPr txBox="1"/>
          <p:nvPr/>
        </p:nvSpPr>
        <p:spPr>
          <a:xfrm>
            <a:off x="1081650" y="4679064"/>
            <a:ext cx="385683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8" dirty="0" err="1">
                <a:solidFill>
                  <a:schemeClr val="bg1">
                    <a:lumMod val="50000"/>
                  </a:schemeClr>
                </a:solidFill>
              </a:rPr>
              <a:t>Böhm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 E et al. BMC Proceedings 2011;5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B7701B1C-414D-4A17-B5D2-7295D85796DE}"/>
              </a:ext>
            </a:extLst>
          </p:cNvPr>
          <p:cNvSpPr txBox="1">
            <a:spLocks/>
          </p:cNvSpPr>
          <p:nvPr/>
        </p:nvSpPr>
        <p:spPr>
          <a:xfrm>
            <a:off x="331595" y="250851"/>
            <a:ext cx="8689842" cy="69307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севен</a:t>
            </a:r>
            <a:r>
              <a:rPr lang="ru-RU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-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ptacog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f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ctivated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br>
              <a:rPr lang="ru-RU" sz="2100" b="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8CB4C2-B0BE-4AA9-B11B-C5A9539E0418}"/>
              </a:ext>
            </a:extLst>
          </p:cNvPr>
          <p:cNvSpPr txBox="1"/>
          <p:nvPr/>
        </p:nvSpPr>
        <p:spPr>
          <a:xfrm>
            <a:off x="415414" y="815848"/>
            <a:ext cx="8109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Будова</a:t>
            </a:r>
            <a:r>
              <a:rPr lang="ru-RU" b="1" dirty="0">
                <a:solidFill>
                  <a:schemeClr val="tx2"/>
                </a:solidFill>
              </a:rPr>
              <a:t> 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A9D7250-1523-4ED3-9EC9-C92C4568D4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3780" y="67451"/>
            <a:ext cx="2591025" cy="17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9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F344B9E-6D74-40D4-A4D8-76962BD200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5623" y="1225497"/>
            <a:ext cx="3298375" cy="248481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592277-1B63-4BAE-A779-04B48F34C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72956" y="112462"/>
            <a:ext cx="2900363" cy="101600"/>
          </a:xfrm>
        </p:spPr>
        <p:txBody>
          <a:bodyPr/>
          <a:lstStyle/>
          <a:p>
            <a:pPr>
              <a:defRPr/>
            </a:pPr>
            <a:r>
              <a:rPr lang="en-GB" noProof="0"/>
              <a:t>For internal use only</a:t>
            </a:r>
            <a:endParaRPr lang="en-GB" noProof="0" dirty="0"/>
          </a:p>
        </p:txBody>
      </p:sp>
      <p:sp>
        <p:nvSpPr>
          <p:cNvPr id="6" name="Rectangle 61">
            <a:extLst>
              <a:ext uri="{FF2B5EF4-FFF2-40B4-BE49-F238E27FC236}">
                <a16:creationId xmlns:a16="http://schemas.microsoft.com/office/drawing/2014/main" id="{AB1990BB-CD4D-44C8-9B5B-65E42371AD6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31595" y="674254"/>
            <a:ext cx="8510588" cy="391715"/>
          </a:xfrm>
        </p:spPr>
        <p:txBody>
          <a:bodyPr/>
          <a:lstStyle/>
          <a:p>
            <a:pPr eaLnBrk="1" hangingPunct="1"/>
            <a:r>
              <a:rPr lang="en-GB" sz="16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en-GB" sz="16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6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еханізм</a:t>
            </a:r>
            <a:r>
              <a:rPr lang="ru-RU" sz="16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6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ії</a:t>
            </a:r>
            <a:endParaRPr lang="en-GB" sz="16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B84098-F2E8-43E3-AFD5-5A2B8E4A19B6}"/>
              </a:ext>
            </a:extLst>
          </p:cNvPr>
          <p:cNvSpPr txBox="1"/>
          <p:nvPr/>
        </p:nvSpPr>
        <p:spPr>
          <a:xfrm>
            <a:off x="288096" y="3839311"/>
            <a:ext cx="82708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>
                <a:solidFill>
                  <a:srgbClr val="002060"/>
                </a:solidFill>
              </a:rPr>
              <a:t>Фактор </a:t>
            </a:r>
            <a:r>
              <a:rPr lang="da-DK" sz="1100" dirty="0">
                <a:solidFill>
                  <a:srgbClr val="002060"/>
                </a:solidFill>
              </a:rPr>
              <a:t>VII</a:t>
            </a:r>
            <a:r>
              <a:rPr lang="ru-RU" sz="1100" dirty="0">
                <a:solidFill>
                  <a:srgbClr val="002060"/>
                </a:solidFill>
              </a:rPr>
              <a:t>а </a:t>
            </a:r>
            <a:r>
              <a:rPr lang="ru-RU" sz="1100" dirty="0" err="1">
                <a:solidFill>
                  <a:srgbClr val="002060"/>
                </a:solidFill>
              </a:rPr>
              <a:t>діє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лише</a:t>
            </a:r>
            <a:r>
              <a:rPr lang="ru-RU" sz="1100" dirty="0">
                <a:solidFill>
                  <a:srgbClr val="002060"/>
                </a:solidFill>
              </a:rPr>
              <a:t> у </a:t>
            </a:r>
            <a:r>
              <a:rPr lang="ru-RU" sz="1100" dirty="0" err="1">
                <a:solidFill>
                  <a:srgbClr val="002060"/>
                </a:solidFill>
              </a:rPr>
              <a:t>місці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ушкодження</a:t>
            </a:r>
            <a:r>
              <a:rPr lang="ru-RU" sz="1100" dirty="0">
                <a:solidFill>
                  <a:srgbClr val="002060"/>
                </a:solidFill>
              </a:rPr>
              <a:t>, </a:t>
            </a:r>
            <a:r>
              <a:rPr lang="ru-RU" sz="1100" dirty="0" err="1">
                <a:solidFill>
                  <a:srgbClr val="002060"/>
                </a:solidFill>
              </a:rPr>
              <a:t>зв'язуючись</a:t>
            </a:r>
            <a:r>
              <a:rPr lang="ru-RU" sz="1100" dirty="0">
                <a:solidFill>
                  <a:srgbClr val="002060"/>
                </a:solidFill>
              </a:rPr>
              <a:t> з </a:t>
            </a:r>
            <a:r>
              <a:rPr lang="ru-RU" sz="1100" dirty="0" err="1">
                <a:solidFill>
                  <a:srgbClr val="002060"/>
                </a:solidFill>
              </a:rPr>
              <a:t>тканинним</a:t>
            </a:r>
            <a:r>
              <a:rPr lang="ru-RU" sz="1100" dirty="0">
                <a:solidFill>
                  <a:srgbClr val="002060"/>
                </a:solidFill>
              </a:rPr>
              <a:t> фактором. </a:t>
            </a:r>
            <a:r>
              <a:rPr lang="ru-RU" sz="1100" dirty="0" err="1">
                <a:solidFill>
                  <a:srgbClr val="002060"/>
                </a:solidFill>
              </a:rPr>
              <a:t>Цей</a:t>
            </a:r>
            <a:r>
              <a:rPr lang="ru-RU" sz="1100" dirty="0">
                <a:solidFill>
                  <a:srgbClr val="002060"/>
                </a:solidFill>
              </a:rPr>
              <a:t> комплекс переводить </a:t>
            </a:r>
            <a:r>
              <a:rPr lang="ru-RU" sz="1100" dirty="0" err="1">
                <a:solidFill>
                  <a:srgbClr val="002060"/>
                </a:solidFill>
              </a:rPr>
              <a:t>фактори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da-DK" sz="1100" dirty="0">
                <a:solidFill>
                  <a:srgbClr val="002060"/>
                </a:solidFill>
              </a:rPr>
              <a:t>IX </a:t>
            </a:r>
            <a:r>
              <a:rPr lang="ru-RU" sz="1100" dirty="0">
                <a:solidFill>
                  <a:srgbClr val="002060"/>
                </a:solidFill>
              </a:rPr>
              <a:t>і Х на </a:t>
            </a:r>
            <a:r>
              <a:rPr lang="ru-RU" sz="1100" dirty="0" err="1">
                <a:solidFill>
                  <a:srgbClr val="002060"/>
                </a:solidFill>
              </a:rPr>
              <a:t>активну</a:t>
            </a:r>
            <a:r>
              <a:rPr lang="ru-RU" sz="1100" dirty="0">
                <a:solidFill>
                  <a:srgbClr val="002060"/>
                </a:solidFill>
              </a:rPr>
              <a:t> форму - </a:t>
            </a:r>
            <a:r>
              <a:rPr lang="da-DK" sz="1100" dirty="0">
                <a:solidFill>
                  <a:srgbClr val="002060"/>
                </a:solidFill>
              </a:rPr>
              <a:t>IXa </a:t>
            </a:r>
            <a:r>
              <a:rPr lang="ru-RU" sz="1100" dirty="0">
                <a:solidFill>
                  <a:srgbClr val="002060"/>
                </a:solidFill>
              </a:rPr>
              <a:t>і Ха, </a:t>
            </a:r>
            <a:r>
              <a:rPr lang="ru-RU" sz="1100" dirty="0" err="1">
                <a:solidFill>
                  <a:srgbClr val="002060"/>
                </a:solidFill>
              </a:rPr>
              <a:t>викликає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перетворення</a:t>
            </a:r>
            <a:r>
              <a:rPr lang="ru-RU" sz="1100" dirty="0">
                <a:solidFill>
                  <a:srgbClr val="002060"/>
                </a:solidFill>
              </a:rPr>
              <a:t> невеликих </a:t>
            </a:r>
            <a:r>
              <a:rPr lang="ru-RU" sz="1100" dirty="0" err="1">
                <a:solidFill>
                  <a:srgbClr val="002060"/>
                </a:solidFill>
              </a:rPr>
              <a:t>кількостей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протромбіну</a:t>
            </a:r>
            <a:r>
              <a:rPr lang="ru-RU" sz="1100" dirty="0">
                <a:solidFill>
                  <a:srgbClr val="002060"/>
                </a:solidFill>
              </a:rPr>
              <a:t> на </a:t>
            </a:r>
            <a:r>
              <a:rPr lang="ru-RU" sz="1100" dirty="0" err="1">
                <a:solidFill>
                  <a:srgbClr val="002060"/>
                </a:solidFill>
              </a:rPr>
              <a:t>тромбін</a:t>
            </a:r>
            <a:r>
              <a:rPr lang="ru-RU" sz="1100" dirty="0">
                <a:solidFill>
                  <a:srgbClr val="002060"/>
                </a:solidFill>
              </a:rPr>
              <a:t>. </a:t>
            </a:r>
            <a:r>
              <a:rPr lang="ru-RU" sz="1100" dirty="0" err="1">
                <a:solidFill>
                  <a:srgbClr val="002060"/>
                </a:solidFill>
              </a:rPr>
              <a:t>Тромбін</a:t>
            </a:r>
            <a:r>
              <a:rPr lang="ru-RU" sz="1100" dirty="0">
                <a:solidFill>
                  <a:srgbClr val="002060"/>
                </a:solidFill>
              </a:rPr>
              <a:t> у </a:t>
            </a:r>
            <a:r>
              <a:rPr lang="ru-RU" sz="1100" dirty="0" err="1">
                <a:solidFill>
                  <a:srgbClr val="002060"/>
                </a:solidFill>
              </a:rPr>
              <a:t>місці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ушкодження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активує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тромбоцити</a:t>
            </a:r>
            <a:r>
              <a:rPr lang="ru-RU" sz="1100" dirty="0">
                <a:solidFill>
                  <a:srgbClr val="002060"/>
                </a:solidFill>
              </a:rPr>
              <a:t>, </a:t>
            </a:r>
            <a:r>
              <a:rPr lang="da-DK" sz="1100" dirty="0">
                <a:solidFill>
                  <a:srgbClr val="002060"/>
                </a:solidFill>
              </a:rPr>
              <a:t>V </a:t>
            </a:r>
            <a:r>
              <a:rPr lang="ru-RU" sz="1100" dirty="0">
                <a:solidFill>
                  <a:srgbClr val="002060"/>
                </a:solidFill>
              </a:rPr>
              <a:t>та </a:t>
            </a:r>
            <a:r>
              <a:rPr lang="da-DK" sz="1100" dirty="0">
                <a:solidFill>
                  <a:srgbClr val="002060"/>
                </a:solidFill>
              </a:rPr>
              <a:t>VIII </a:t>
            </a:r>
            <a:r>
              <a:rPr lang="ru-RU" sz="1100" dirty="0" err="1">
                <a:solidFill>
                  <a:srgbClr val="002060"/>
                </a:solidFill>
              </a:rPr>
              <a:t>фактори</a:t>
            </a:r>
            <a:r>
              <a:rPr lang="ru-RU" sz="1100" dirty="0">
                <a:solidFill>
                  <a:srgbClr val="002060"/>
                </a:solidFill>
              </a:rPr>
              <a:t>, </a:t>
            </a:r>
            <a:r>
              <a:rPr lang="ru-RU" sz="1100" dirty="0" err="1">
                <a:solidFill>
                  <a:srgbClr val="002060"/>
                </a:solidFill>
              </a:rPr>
              <a:t>що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викликають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перетворення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фібриногену</a:t>
            </a:r>
            <a:r>
              <a:rPr lang="ru-RU" sz="1100" dirty="0">
                <a:solidFill>
                  <a:srgbClr val="002060"/>
                </a:solidFill>
              </a:rPr>
              <a:t> на </a:t>
            </a:r>
            <a:r>
              <a:rPr lang="ru-RU" sz="1100" dirty="0" err="1">
                <a:solidFill>
                  <a:srgbClr val="002060"/>
                </a:solidFill>
              </a:rPr>
              <a:t>фібрин</a:t>
            </a:r>
            <a:r>
              <a:rPr lang="ru-RU" sz="1100" dirty="0">
                <a:solidFill>
                  <a:srgbClr val="002060"/>
                </a:solidFill>
              </a:rPr>
              <a:t> та </a:t>
            </a:r>
            <a:r>
              <a:rPr lang="ru-RU" sz="1100" dirty="0" err="1">
                <a:solidFill>
                  <a:srgbClr val="002060"/>
                </a:solidFill>
              </a:rPr>
              <a:t>утворення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гемостатичного</a:t>
            </a:r>
            <a:r>
              <a:rPr lang="ru-RU" sz="1100" dirty="0">
                <a:solidFill>
                  <a:srgbClr val="002060"/>
                </a:solidFill>
              </a:rPr>
              <a:t> </a:t>
            </a:r>
            <a:r>
              <a:rPr lang="ru-RU" sz="1100" dirty="0" err="1">
                <a:solidFill>
                  <a:srgbClr val="002060"/>
                </a:solidFill>
              </a:rPr>
              <a:t>згустку</a:t>
            </a:r>
            <a:r>
              <a:rPr lang="ru-RU" sz="1100" dirty="0">
                <a:solidFill>
                  <a:srgbClr val="002060"/>
                </a:solidFill>
              </a:rPr>
              <a:t>.</a:t>
            </a:r>
            <a:endParaRPr lang="en-US" sz="1100" dirty="0">
              <a:solidFill>
                <a:srgbClr val="002060"/>
              </a:solidFill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CE9B8DB2-B585-4E37-9376-8D3B034FE9AA}"/>
              </a:ext>
            </a:extLst>
          </p:cNvPr>
          <p:cNvSpPr txBox="1">
            <a:spLocks/>
          </p:cNvSpPr>
          <p:nvPr/>
        </p:nvSpPr>
        <p:spPr>
          <a:xfrm>
            <a:off x="331595" y="250852"/>
            <a:ext cx="8689842" cy="3917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севен</a:t>
            </a:r>
            <a:r>
              <a:rPr lang="ru-RU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-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ptacog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f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ctivated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EDE966-6191-9A29-7B5D-D738368214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6889" y="956884"/>
            <a:ext cx="3885353" cy="2882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84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CF57A-EF58-4049-917F-4966704FC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447" y="742971"/>
            <a:ext cx="8510400" cy="391412"/>
          </a:xfrm>
        </p:spPr>
        <p:txBody>
          <a:bodyPr/>
          <a:lstStyle/>
          <a:p>
            <a:pPr algn="ctr"/>
            <a:br>
              <a:rPr lang="ru-RU" b="0" dirty="0"/>
            </a:br>
            <a:r>
              <a:rPr lang="ru-RU" sz="18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екомендоване</a:t>
            </a:r>
            <a:r>
              <a:rPr lang="ru-RU" sz="1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8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зування</a:t>
            </a:r>
            <a:r>
              <a:rPr lang="ru-RU" sz="18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та схема </a:t>
            </a:r>
            <a:r>
              <a:rPr lang="ru-RU" sz="1800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ерапії</a:t>
            </a:r>
            <a:br>
              <a:rPr lang="ru-RU" sz="1500" dirty="0"/>
            </a:br>
            <a:endParaRPr lang="en-GB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AD78C61-8735-4E1C-8C83-6351886E2886}"/>
              </a:ext>
            </a:extLst>
          </p:cNvPr>
          <p:cNvSpPr/>
          <p:nvPr/>
        </p:nvSpPr>
        <p:spPr>
          <a:xfrm>
            <a:off x="1916377" y="1177797"/>
            <a:ext cx="4888685" cy="52221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чаткова доза в/в -90 мкг (4,5 КМО) на кг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аси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іла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ожні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2-3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одини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endParaRPr lang="en-GB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4837D4D2-D351-40B3-9C05-0683B61F46EE}"/>
              </a:ext>
            </a:extLst>
          </p:cNvPr>
          <p:cNvSpPr/>
          <p:nvPr/>
        </p:nvSpPr>
        <p:spPr>
          <a:xfrm rot="5400000">
            <a:off x="4074444" y="801002"/>
            <a:ext cx="572549" cy="2611073"/>
          </a:xfrm>
          <a:prstGeom prst="homePlat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7D7AD9-C8AA-455C-9658-C62F8A57B09A}"/>
              </a:ext>
            </a:extLst>
          </p:cNvPr>
          <p:cNvSpPr txBox="1"/>
          <p:nvPr/>
        </p:nvSpPr>
        <p:spPr>
          <a:xfrm>
            <a:off x="3106818" y="1884196"/>
            <a:ext cx="26110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стаз</a:t>
            </a:r>
            <a:endParaRPr lang="en-GB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3B9626C-BA14-481F-A34D-086EA907DE48}"/>
              </a:ext>
            </a:extLst>
          </p:cNvPr>
          <p:cNvSpPr/>
          <p:nvPr/>
        </p:nvSpPr>
        <p:spPr>
          <a:xfrm>
            <a:off x="1916377" y="2492684"/>
            <a:ext cx="4991957" cy="84468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и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еобхідності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одовже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ісл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сягне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фективного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гемостазу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веде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вторюють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через 4, 6, 8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12 годин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стільки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скільки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трібно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ля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  <a:endParaRPr lang="en-GB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8F550E8-4DBC-4E0C-8EFC-180327DCF600}"/>
              </a:ext>
            </a:extLst>
          </p:cNvPr>
          <p:cNvSpPr/>
          <p:nvPr/>
        </p:nvSpPr>
        <p:spPr>
          <a:xfrm>
            <a:off x="1916377" y="3546252"/>
            <a:ext cx="4991957" cy="52221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дальше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же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бути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цільним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ля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побігання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вторній</a:t>
            </a:r>
            <a:r>
              <a:rPr lang="ru-RU" sz="12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отечі</a:t>
            </a:r>
            <a:endParaRPr lang="en-GB" sz="1200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C8B1A8-4780-4AAB-B847-633C4EA845DB}"/>
              </a:ext>
            </a:extLst>
          </p:cNvPr>
          <p:cNvSpPr txBox="1"/>
          <p:nvPr/>
        </p:nvSpPr>
        <p:spPr>
          <a:xfrm>
            <a:off x="1065127" y="4187842"/>
            <a:ext cx="721856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ивалість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та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тервал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іж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'єкціями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жуть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мінюватись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в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лежності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д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яжкості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отечі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та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ланованих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ерапевтичних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тактик (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вазивні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оцедури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операції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.</a:t>
            </a:r>
          </a:p>
          <a:p>
            <a:pPr algn="ctr"/>
            <a:r>
              <a:rPr lang="da-DK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же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єднуватися</a:t>
            </a:r>
            <a:r>
              <a:rPr lang="ru-RU" sz="9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9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нтифібринолітиками</a:t>
            </a:r>
            <a:endParaRPr lang="en-GB" sz="9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D34D2E-C824-412A-86F4-CB48E9D432F9}"/>
              </a:ext>
            </a:extLst>
          </p:cNvPr>
          <p:cNvSpPr txBox="1"/>
          <p:nvPr/>
        </p:nvSpPr>
        <p:spPr>
          <a:xfrm>
            <a:off x="940696" y="4804253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СЕВЕН® 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UA/5178/01/04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B4F1B254-436E-44E6-AA94-0B407BD6A9DB}"/>
              </a:ext>
            </a:extLst>
          </p:cNvPr>
          <p:cNvSpPr txBox="1">
            <a:spLocks/>
          </p:cNvSpPr>
          <p:nvPr/>
        </p:nvSpPr>
        <p:spPr>
          <a:xfrm>
            <a:off x="322099" y="434642"/>
            <a:ext cx="8679793" cy="2139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севен</a:t>
            </a:r>
            <a:r>
              <a:rPr lang="ru-RU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-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ptacog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f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ctivated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br>
              <a:rPr lang="ru-RU" sz="2100" b="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</a:b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C47676E-3273-4F0A-A1DE-2A4926CF0F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3780" y="67451"/>
            <a:ext cx="2591025" cy="17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89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E06BFF3-242B-4FA3-805E-3FE305F3F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0" y="964642"/>
            <a:ext cx="8510400" cy="3788228"/>
          </a:xfrm>
        </p:spPr>
        <p:txBody>
          <a:bodyPr>
            <a:normAutofit/>
          </a:bodyPr>
          <a:lstStyle/>
          <a:p>
            <a:r>
              <a:rPr lang="ru-RU" dirty="0" err="1"/>
              <a:t>НовоЕйт</a:t>
            </a:r>
            <a:r>
              <a:rPr lang="ru-RU" baseline="30000" dirty="0"/>
              <a:t> ® </a:t>
            </a:r>
            <a:r>
              <a:rPr lang="ru-RU" dirty="0"/>
              <a:t>(</a:t>
            </a:r>
            <a:r>
              <a:rPr lang="en-US" dirty="0"/>
              <a:t>NOVOEIGHT</a:t>
            </a:r>
            <a:r>
              <a:rPr lang="ru-RU" baseline="30000" dirty="0"/>
              <a:t> ®</a:t>
            </a:r>
            <a:r>
              <a:rPr lang="ru-RU" dirty="0"/>
              <a:t>)</a:t>
            </a:r>
          </a:p>
          <a:p>
            <a:pPr marL="0" indent="0">
              <a:buNone/>
            </a:pPr>
            <a:endParaRPr lang="en-GB" dirty="0"/>
          </a:p>
          <a:p>
            <a:r>
              <a:rPr lang="ru-RU" dirty="0" err="1"/>
              <a:t>НовоСевен</a:t>
            </a:r>
            <a:r>
              <a:rPr lang="ru-RU" baseline="30000" dirty="0"/>
              <a:t>®</a:t>
            </a:r>
            <a:r>
              <a:rPr lang="ru-RU" dirty="0"/>
              <a:t> (</a:t>
            </a:r>
            <a:r>
              <a:rPr lang="en-US" dirty="0"/>
              <a:t>NOVOSEVEN</a:t>
            </a:r>
            <a:r>
              <a:rPr lang="ru-RU" baseline="30000" dirty="0"/>
              <a:t> ®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670EE5-7529-4E8A-875C-242E50844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800" y="244197"/>
            <a:ext cx="8510400" cy="391412"/>
          </a:xfrm>
        </p:spPr>
        <p:txBody>
          <a:bodyPr/>
          <a:lstStyle/>
          <a:p>
            <a:r>
              <a:rPr lang="ru-RU" dirty="0" err="1"/>
              <a:t>Зміст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604941-ECCF-49AA-8B7D-17AE4653A8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2</a:t>
            </a:fld>
            <a:endParaRPr lang="en-GB" noProof="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28A27B0-7C5C-4CBE-9C9E-585918B92816}"/>
              </a:ext>
            </a:extLst>
          </p:cNvPr>
          <p:cNvSpPr txBox="1">
            <a:spLocks/>
          </p:cNvSpPr>
          <p:nvPr/>
        </p:nvSpPr>
        <p:spPr>
          <a:xfrm>
            <a:off x="4572000" y="54250"/>
            <a:ext cx="2900362" cy="101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78921">
              <a:spcBef>
                <a:spcPct val="0"/>
              </a:spcBef>
              <a:defRPr/>
            </a:pPr>
            <a:r>
              <a:rPr lang="en-GB" sz="600" dirty="0">
                <a:solidFill>
                  <a:srgbClr val="82786F"/>
                </a:solidFill>
                <a:latin typeface="Verdana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21796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/>
          </p:cNvSpPr>
          <p:nvPr>
            <p:ph type="title"/>
          </p:nvPr>
        </p:nvSpPr>
        <p:spPr>
          <a:xfrm>
            <a:off x="399948" y="418252"/>
            <a:ext cx="8509000" cy="390525"/>
          </a:xfrm>
          <a:noFill/>
        </p:spPr>
        <p:txBody>
          <a:bodyPr/>
          <a:lstStyle/>
          <a:p>
            <a:r>
              <a:rPr lang="uk-UA" dirty="0"/>
              <a:t>НовоЕйт</a:t>
            </a:r>
            <a:r>
              <a:rPr lang="ru-RU" baseline="30000" dirty="0"/>
              <a:t> ®</a:t>
            </a:r>
            <a:r>
              <a:rPr lang="uk-UA" dirty="0"/>
              <a:t> (туроктоког альфа) </a:t>
            </a:r>
            <a:endParaRPr lang="en-GB" dirty="0"/>
          </a:p>
        </p:txBody>
      </p:sp>
      <p:sp>
        <p:nvSpPr>
          <p:cNvPr id="59398" name="Footer Placeholder 3"/>
          <p:cNvSpPr txBox="1">
            <a:spLocks/>
          </p:cNvSpPr>
          <p:nvPr/>
        </p:nvSpPr>
        <p:spPr bwMode="auto">
          <a:xfrm>
            <a:off x="469900" y="0"/>
            <a:ext cx="5843588" cy="353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GB" sz="800" b="0" dirty="0">
              <a:solidFill>
                <a:srgbClr val="BDB2A4"/>
              </a:solidFill>
            </a:endParaRP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 bwMode="auto">
          <a:xfrm>
            <a:off x="8242300" y="56674"/>
            <a:ext cx="901700" cy="204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6" tIns="45718" rIns="91436" bIns="4571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877888" eaLnBrk="1" hangingPunct="1">
              <a:spcBef>
                <a:spcPts val="0"/>
              </a:spcBef>
              <a:defRPr sz="600" b="0">
                <a:solidFill>
                  <a:srgbClr val="FF0000"/>
                </a:solidFill>
                <a:cs typeface="+mn-cs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fld id="{A3B283B2-F54F-497F-8CD9-716612D0811D}" type="slidenum">
              <a:rPr lang="en-GB" sz="800">
                <a:solidFill>
                  <a:srgbClr val="82786F"/>
                </a:solidFill>
              </a:rPr>
              <a:pPr/>
              <a:t>3</a:t>
            </a:fld>
            <a:endParaRPr lang="en-GB" sz="800" dirty="0">
              <a:solidFill>
                <a:srgbClr val="82786F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09862" y="1160227"/>
            <a:ext cx="4223242" cy="784509"/>
          </a:xfrm>
          <a:prstGeom prst="roundRect">
            <a:avLst/>
          </a:prstGeom>
          <a:gradFill>
            <a:gsLst>
              <a:gs pos="0">
                <a:srgbClr val="00165B"/>
              </a:gs>
              <a:gs pos="60000">
                <a:srgbClr val="00165B"/>
              </a:gs>
              <a:gs pos="100000">
                <a:srgbClr val="00165B">
                  <a:lumMod val="90000"/>
                  <a:lumOff val="10000"/>
                </a:srgbClr>
              </a:gs>
            </a:gsLst>
            <a:lin ang="5400000" scaled="0"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lIns="71997" tIns="71997" rIns="71997" bIns="7199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err="1">
                <a:solidFill>
                  <a:schemeClr val="bg1"/>
                </a:solidFill>
              </a:rPr>
              <a:t>Стерильний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ліофілізований</a:t>
            </a:r>
            <a:r>
              <a:rPr lang="ru-RU" sz="1400" dirty="0">
                <a:solidFill>
                  <a:schemeClr val="bg1"/>
                </a:solidFill>
              </a:rPr>
              <a:t> порошок у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</a:rPr>
              <a:t>флаконах для </a:t>
            </a:r>
            <a:r>
              <a:rPr lang="ru-RU" sz="1400" dirty="0" err="1">
                <a:solidFill>
                  <a:schemeClr val="bg1"/>
                </a:solidFill>
              </a:rPr>
              <a:t>використання</a:t>
            </a:r>
            <a:r>
              <a:rPr lang="ru-RU" sz="1400" dirty="0">
                <a:solidFill>
                  <a:schemeClr val="bg1"/>
                </a:solidFill>
              </a:rPr>
              <a:t> у </a:t>
            </a:r>
            <a:r>
              <a:rPr lang="ru-RU" sz="1400" dirty="0" err="1">
                <a:solidFill>
                  <a:schemeClr val="bg1"/>
                </a:solidFill>
              </a:rPr>
              <a:t>пристрої</a:t>
            </a:r>
            <a:endParaRPr lang="ru-RU" sz="14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400" b="1" dirty="0" err="1">
                <a:solidFill>
                  <a:schemeClr val="bg1"/>
                </a:solidFill>
              </a:rPr>
              <a:t>MixPro</a:t>
            </a:r>
            <a:r>
              <a:rPr lang="en-CA" sz="1400" b="1" baseline="30000" dirty="0">
                <a:solidFill>
                  <a:schemeClr val="bg1"/>
                </a:solidFill>
              </a:rPr>
              <a:t>®</a:t>
            </a:r>
            <a:r>
              <a:rPr lang="en-CA" sz="1400" b="1" dirty="0">
                <a:solidFill>
                  <a:schemeClr val="bg1"/>
                </a:solidFill>
              </a:rPr>
              <a:t> </a:t>
            </a:r>
            <a:r>
              <a:rPr lang="en-CA" sz="1400" b="1" baseline="30000" dirty="0">
                <a:solidFill>
                  <a:schemeClr val="bg1"/>
                </a:solidFill>
              </a:rPr>
              <a:t>1,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44729" y="2062942"/>
            <a:ext cx="2440889" cy="2443135"/>
            <a:chOff x="1070891" y="1953059"/>
            <a:chExt cx="2858558" cy="2779279"/>
          </a:xfrm>
        </p:grpSpPr>
        <p:pic>
          <p:nvPicPr>
            <p:cNvPr id="8" name="Picture 7" descr="New reconstitution kit.pdf - Adobe Acrobat Pro"/>
            <p:cNvPicPr>
              <a:picLocks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0891" y="1953059"/>
              <a:ext cx="2753767" cy="264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3748216" y="3276295"/>
              <a:ext cx="181233" cy="1456043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277" y="1718851"/>
            <a:ext cx="3564913" cy="2946769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 bwMode="auto">
          <a:xfrm>
            <a:off x="4654447" y="1143674"/>
            <a:ext cx="4001873" cy="784509"/>
          </a:xfrm>
          <a:prstGeom prst="round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6000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5400000" scaled="0"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lIns="71997" tIns="71997" rIns="71997" bIns="71997" anchor="ctr"/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uk-UA" sz="1400" b="1" dirty="0">
                <a:solidFill>
                  <a:schemeClr val="bg1"/>
                </a:solidFill>
              </a:rPr>
              <a:t>6 доз</a:t>
            </a:r>
            <a:r>
              <a:rPr lang="en-CA" sz="1400" b="1" baseline="30000" dirty="0">
                <a:solidFill>
                  <a:schemeClr val="bg1"/>
                </a:solidFill>
              </a:rPr>
              <a:t>1,2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433104" y="1272638"/>
            <a:ext cx="0" cy="324000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28326" y="4829544"/>
            <a:ext cx="7873567" cy="219288"/>
          </a:xfrm>
          <a:prstGeom prst="rect">
            <a:avLst/>
          </a:prstGeom>
          <a:noFill/>
        </p:spPr>
        <p:txBody>
          <a:bodyPr wrap="square" lIns="91436" tIns="45718" rIns="91436" bIns="45718" rtlCol="0" anchor="b">
            <a:spAutoFit/>
          </a:bodyPr>
          <a:lstStyle/>
          <a:p>
            <a:r>
              <a:rPr lang="en-CA" sz="8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. Novo Nordisk. </a:t>
            </a:r>
            <a:r>
              <a:rPr lang="en-CA" sz="800" dirty="0" err="1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Eight</a:t>
            </a:r>
            <a:r>
              <a:rPr lang="en-CA" sz="800" baseline="300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®</a:t>
            </a:r>
            <a:r>
              <a:rPr lang="en-CA" sz="8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CA" sz="800" dirty="0" err="1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mPC</a:t>
            </a:r>
            <a:r>
              <a:rPr lang="en-CA" sz="8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2018; 2. Novo Nordisk. </a:t>
            </a:r>
            <a:r>
              <a:rPr lang="en-CA" sz="800" dirty="0" err="1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voEight</a:t>
            </a:r>
            <a:r>
              <a:rPr lang="en-CA" sz="800" baseline="300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®</a:t>
            </a:r>
            <a:r>
              <a:rPr lang="en-CA" sz="800" dirty="0">
                <a:solidFill>
                  <a:srgbClr val="82786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PI 2018.</a:t>
            </a:r>
          </a:p>
        </p:txBody>
      </p:sp>
      <p:sp>
        <p:nvSpPr>
          <p:cNvPr id="4" name="Прямокутник 3"/>
          <p:cNvSpPr/>
          <p:nvPr/>
        </p:nvSpPr>
        <p:spPr>
          <a:xfrm>
            <a:off x="922149" y="2696705"/>
            <a:ext cx="1115878" cy="30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кутник 15"/>
          <p:cNvSpPr/>
          <p:nvPr/>
        </p:nvSpPr>
        <p:spPr>
          <a:xfrm>
            <a:off x="766388" y="2716848"/>
            <a:ext cx="1115878" cy="30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кутник 16"/>
          <p:cNvSpPr/>
          <p:nvPr/>
        </p:nvSpPr>
        <p:spPr>
          <a:xfrm>
            <a:off x="1595758" y="4254493"/>
            <a:ext cx="1115878" cy="30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кутник 17"/>
          <p:cNvSpPr/>
          <p:nvPr/>
        </p:nvSpPr>
        <p:spPr>
          <a:xfrm>
            <a:off x="2481316" y="2090065"/>
            <a:ext cx="1115878" cy="15049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549707" y="2695806"/>
            <a:ext cx="154924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50" dirty="0"/>
              <a:t>Попередньо  наповнений  шприц</a:t>
            </a:r>
            <a:endParaRPr lang="ru-RU" sz="1050" dirty="0"/>
          </a:p>
        </p:txBody>
      </p:sp>
      <p:sp>
        <p:nvSpPr>
          <p:cNvPr id="20" name="TextBox 19"/>
          <p:cNvSpPr txBox="1"/>
          <p:nvPr/>
        </p:nvSpPr>
        <p:spPr>
          <a:xfrm>
            <a:off x="2129883" y="2061897"/>
            <a:ext cx="154924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50" dirty="0"/>
              <a:t>Поршень</a:t>
            </a:r>
            <a:endParaRPr lang="ru-RU" sz="1050" dirty="0"/>
          </a:p>
        </p:txBody>
      </p:sp>
      <p:sp>
        <p:nvSpPr>
          <p:cNvPr id="21" name="TextBox 20"/>
          <p:cNvSpPr txBox="1"/>
          <p:nvPr/>
        </p:nvSpPr>
        <p:spPr>
          <a:xfrm>
            <a:off x="1147164" y="4193382"/>
            <a:ext cx="154924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050" dirty="0"/>
              <a:t>Адаптор флакона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19302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1656911-1D96-4F96-8D90-CF5CF9B56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0" y="803868"/>
            <a:ext cx="8510400" cy="346668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b="1" dirty="0" err="1"/>
              <a:t>Покази</a:t>
            </a:r>
            <a:endParaRPr lang="ru-RU" sz="2000" b="1" dirty="0"/>
          </a:p>
          <a:p>
            <a:r>
              <a:rPr lang="ru-RU" sz="1600" dirty="0" err="1"/>
              <a:t>Лікування</a:t>
            </a:r>
            <a:r>
              <a:rPr lang="ru-RU" sz="1600" dirty="0"/>
              <a:t> та </a:t>
            </a:r>
            <a:r>
              <a:rPr lang="ru-RU" sz="1600" dirty="0" err="1"/>
              <a:t>профілактика</a:t>
            </a:r>
            <a:r>
              <a:rPr lang="ru-RU" sz="1600" dirty="0"/>
              <a:t> </a:t>
            </a:r>
            <a:r>
              <a:rPr lang="ru-RU" sz="1600" dirty="0" err="1"/>
              <a:t>кровотеч</a:t>
            </a:r>
            <a:r>
              <a:rPr lang="ru-RU" sz="1600" dirty="0"/>
              <a:t> у </a:t>
            </a:r>
            <a:r>
              <a:rPr lang="ru-RU" sz="1600" dirty="0" err="1"/>
              <a:t>пацієнтів</a:t>
            </a:r>
            <a:r>
              <a:rPr lang="ru-RU" sz="1600" dirty="0"/>
              <a:t> з </a:t>
            </a:r>
            <a:r>
              <a:rPr lang="ru-RU" sz="1600" dirty="0" err="1"/>
              <a:t>гемофілією</a:t>
            </a:r>
            <a:r>
              <a:rPr lang="ru-RU" sz="1600" dirty="0"/>
              <a:t> А (</a:t>
            </a:r>
            <a:r>
              <a:rPr lang="ru-RU" sz="1600" dirty="0" err="1"/>
              <a:t>вродженим</a:t>
            </a:r>
            <a:r>
              <a:rPr lang="ru-RU" sz="1600" dirty="0"/>
              <a:t> </a:t>
            </a:r>
            <a:r>
              <a:rPr lang="ru-RU" sz="1600" dirty="0" err="1"/>
              <a:t>дефіцитом</a:t>
            </a:r>
            <a:r>
              <a:rPr lang="ru-RU" sz="1600" dirty="0"/>
              <a:t> фактора VIII)</a:t>
            </a:r>
          </a:p>
          <a:p>
            <a:r>
              <a:rPr lang="ru-RU" sz="1600" dirty="0"/>
              <a:t>Препарат </a:t>
            </a:r>
            <a:r>
              <a:rPr lang="ru-RU" sz="1600" dirty="0" err="1"/>
              <a:t>НовоЕйт</a:t>
            </a:r>
            <a:r>
              <a:rPr lang="ru-RU" sz="1600" baseline="30000" dirty="0"/>
              <a:t>®</a:t>
            </a:r>
            <a:r>
              <a:rPr lang="ru-RU" sz="1600" dirty="0"/>
              <a:t> </a:t>
            </a:r>
            <a:r>
              <a:rPr lang="ru-RU" sz="1600" dirty="0" err="1"/>
              <a:t>можна</a:t>
            </a:r>
            <a:r>
              <a:rPr lang="ru-RU" sz="1600" dirty="0"/>
              <a:t> </a:t>
            </a:r>
            <a:r>
              <a:rPr lang="ru-RU" sz="1600" dirty="0" err="1"/>
              <a:t>використовувати</a:t>
            </a:r>
            <a:r>
              <a:rPr lang="ru-RU" sz="1600" dirty="0"/>
              <a:t> </a:t>
            </a:r>
            <a:r>
              <a:rPr lang="ru-RU" sz="1600" dirty="0" err="1"/>
              <a:t>пацієнтам</a:t>
            </a:r>
            <a:r>
              <a:rPr lang="ru-RU" sz="1600" dirty="0"/>
              <a:t> </a:t>
            </a:r>
            <a:r>
              <a:rPr lang="ru-RU" sz="1600" dirty="0" err="1"/>
              <a:t>усіх</a:t>
            </a:r>
            <a:r>
              <a:rPr lang="ru-RU" sz="1600" dirty="0"/>
              <a:t> </a:t>
            </a:r>
            <a:r>
              <a:rPr lang="ru-RU" sz="1600" dirty="0" err="1"/>
              <a:t>вікових</a:t>
            </a:r>
            <a:r>
              <a:rPr lang="ru-RU" sz="1600" dirty="0"/>
              <a:t> </a:t>
            </a:r>
            <a:r>
              <a:rPr lang="ru-RU" sz="1600" dirty="0" err="1"/>
              <a:t>груп</a:t>
            </a:r>
            <a:r>
              <a:rPr lang="ru-RU" sz="1600" dirty="0"/>
              <a:t>.</a:t>
            </a:r>
          </a:p>
          <a:p>
            <a:endParaRPr lang="ru-RU" b="1" dirty="0"/>
          </a:p>
          <a:p>
            <a:pPr marL="0" indent="0">
              <a:buNone/>
            </a:pPr>
            <a:r>
              <a:rPr lang="ru-RU" sz="1600" b="1" dirty="0" err="1"/>
              <a:t>Протипокази</a:t>
            </a:r>
            <a:endParaRPr lang="ru-RU" sz="1600" b="1" dirty="0"/>
          </a:p>
          <a:p>
            <a:r>
              <a:rPr lang="ru-RU" sz="1400" dirty="0" err="1"/>
              <a:t>Гіперчутливість</a:t>
            </a:r>
            <a:r>
              <a:rPr lang="ru-RU" sz="1400" dirty="0"/>
              <a:t> до </a:t>
            </a:r>
            <a:r>
              <a:rPr lang="ru-RU" sz="1400" dirty="0" err="1"/>
              <a:t>діючої</a:t>
            </a:r>
            <a:r>
              <a:rPr lang="ru-RU" sz="1400" dirty="0"/>
              <a:t> </a:t>
            </a:r>
            <a:r>
              <a:rPr lang="ru-RU" sz="1400" dirty="0" err="1"/>
              <a:t>речовини</a:t>
            </a:r>
            <a:r>
              <a:rPr lang="ru-RU" sz="1400" dirty="0"/>
              <a:t> </a:t>
            </a:r>
            <a:r>
              <a:rPr lang="ru-RU" sz="1400" dirty="0" err="1"/>
              <a:t>або</a:t>
            </a:r>
            <a:r>
              <a:rPr lang="ru-RU" sz="1400" dirty="0"/>
              <a:t> до будь-</a:t>
            </a:r>
            <a:r>
              <a:rPr lang="ru-RU" sz="1400" dirty="0" err="1"/>
              <a:t>якої</a:t>
            </a:r>
            <a:r>
              <a:rPr lang="ru-RU" sz="1400" dirty="0"/>
              <a:t> </a:t>
            </a:r>
            <a:r>
              <a:rPr lang="ru-RU" sz="1400" dirty="0" err="1"/>
              <a:t>іншої</a:t>
            </a:r>
            <a:r>
              <a:rPr lang="ru-RU" sz="1400" dirty="0"/>
              <a:t> </a:t>
            </a:r>
            <a:r>
              <a:rPr lang="ru-RU" sz="1400" dirty="0" err="1"/>
              <a:t>допоміжної</a:t>
            </a:r>
            <a:r>
              <a:rPr lang="ru-RU" sz="1400" dirty="0"/>
              <a:t> </a:t>
            </a:r>
            <a:r>
              <a:rPr lang="ru-RU" sz="1400" dirty="0" err="1"/>
              <a:t>речовини</a:t>
            </a:r>
            <a:endParaRPr lang="ru-RU" sz="1400" dirty="0"/>
          </a:p>
          <a:p>
            <a:r>
              <a:rPr lang="ru-RU" sz="1400" dirty="0" err="1"/>
              <a:t>Відомо</a:t>
            </a:r>
            <a:r>
              <a:rPr lang="ru-RU" sz="1400" dirty="0"/>
              <a:t> про </a:t>
            </a:r>
            <a:r>
              <a:rPr lang="ru-RU" sz="1400" dirty="0" err="1"/>
              <a:t>алергійну</a:t>
            </a:r>
            <a:r>
              <a:rPr lang="ru-RU" sz="1400" dirty="0"/>
              <a:t> </a:t>
            </a:r>
            <a:r>
              <a:rPr lang="ru-RU" sz="1400" dirty="0" err="1"/>
              <a:t>реакцію</a:t>
            </a:r>
            <a:r>
              <a:rPr lang="ru-RU" sz="1400" dirty="0"/>
              <a:t> на </a:t>
            </a:r>
            <a:r>
              <a:rPr lang="ru-RU" sz="1400" dirty="0" err="1"/>
              <a:t>білки</a:t>
            </a:r>
            <a:r>
              <a:rPr lang="ru-RU" sz="1400" dirty="0"/>
              <a:t> </a:t>
            </a:r>
            <a:r>
              <a:rPr lang="ru-RU" sz="1400" dirty="0" err="1"/>
              <a:t>хом'яка</a:t>
            </a:r>
            <a:endParaRPr lang="ru-RU" sz="1600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161B9C-41DB-4AB3-A7F2-8DE9FB9F1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053" y="182416"/>
            <a:ext cx="8689842" cy="693072"/>
          </a:xfrm>
        </p:spPr>
        <p:txBody>
          <a:bodyPr/>
          <a:lstStyle/>
          <a:p>
            <a:r>
              <a:rPr lang="ru-RU" dirty="0" err="1"/>
              <a:t>Ново</a:t>
            </a:r>
            <a:r>
              <a:rPr lang="ru-RU" dirty="0" err="1">
                <a:solidFill>
                  <a:schemeClr val="tx2"/>
                </a:solidFill>
              </a:rPr>
              <a:t>Ейт</a:t>
            </a:r>
            <a:r>
              <a:rPr lang="ru-RU" baseline="30000" dirty="0"/>
              <a:t>®</a:t>
            </a:r>
            <a:r>
              <a:rPr lang="ru-RU" dirty="0"/>
              <a:t> - </a:t>
            </a:r>
            <a:r>
              <a:rPr lang="en-GB" dirty="0" err="1">
                <a:solidFill>
                  <a:srgbClr val="002060"/>
                </a:solidFill>
              </a:rPr>
              <a:t>turoctocog</a:t>
            </a:r>
            <a:r>
              <a:rPr lang="en-GB" dirty="0">
                <a:solidFill>
                  <a:srgbClr val="002060"/>
                </a:solidFill>
              </a:rPr>
              <a:t> </a:t>
            </a:r>
            <a:r>
              <a:rPr lang="en-GB" dirty="0" err="1">
                <a:solidFill>
                  <a:srgbClr val="002060"/>
                </a:solidFill>
              </a:rPr>
              <a:t>alf</a:t>
            </a:r>
            <a:r>
              <a:rPr lang="ru-RU" dirty="0">
                <a:solidFill>
                  <a:srgbClr val="002060"/>
                </a:solidFill>
              </a:rPr>
              <a:t>а</a:t>
            </a:r>
            <a:r>
              <a:rPr lang="ru-RU" dirty="0"/>
              <a:t> (</a:t>
            </a:r>
            <a:r>
              <a:rPr lang="ru-RU" dirty="0" err="1"/>
              <a:t>rFVIII</a:t>
            </a:r>
            <a:r>
              <a:rPr lang="ru-RU" dirty="0"/>
              <a:t>)</a:t>
            </a:r>
            <a:br>
              <a:rPr lang="ru-RU" sz="2100" b="0" dirty="0"/>
            </a:b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D5DC97-4249-4DC5-9186-E0781996A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7765" y="74217"/>
            <a:ext cx="2591025" cy="1767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8D39F9-126C-4549-8663-D6375957894A}"/>
              </a:ext>
            </a:extLst>
          </p:cNvPr>
          <p:cNvSpPr txBox="1"/>
          <p:nvPr/>
        </p:nvSpPr>
        <p:spPr>
          <a:xfrm>
            <a:off x="1047656" y="4842655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Ейт® РУ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UA/</a:t>
            </a:r>
            <a:r>
              <a:rPr lang="ru-RU" sz="788" dirty="0">
                <a:solidFill>
                  <a:schemeClr val="bg1">
                    <a:lumMod val="50000"/>
                  </a:schemeClr>
                </a:solidFill>
              </a:rPr>
              <a:t>16751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/01/0</a:t>
            </a:r>
            <a:r>
              <a:rPr lang="ru-RU" sz="788" dirty="0">
                <a:solidFill>
                  <a:schemeClr val="bg1">
                    <a:lumMod val="50000"/>
                  </a:schemeClr>
                </a:solidFill>
              </a:rPr>
              <a:t>1</a:t>
            </a:r>
            <a:endParaRPr lang="en-GB" sz="788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22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29B9A37-634C-4809-BD49-D697F6AB060F}"/>
              </a:ext>
            </a:extLst>
          </p:cNvPr>
          <p:cNvSpPr/>
          <p:nvPr/>
        </p:nvSpPr>
        <p:spPr>
          <a:xfrm>
            <a:off x="162476" y="3743097"/>
            <a:ext cx="881904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уроктоког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альфа –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юдськи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оагуляції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.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Це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лікопротеї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ає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аку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саму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будову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як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юдськи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у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стані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ктивації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При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веденні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ацієнту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філією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в'язується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ндогенним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ом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ллебранду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у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і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хворих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Комплекс фактор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/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актор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ллебранда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складається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вох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молекул (фактора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а фактора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ллебранда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з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ізними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ізіологічними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ункціями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ктивовани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іє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як кофактор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ктивованого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а ІХ,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искорюючи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еретворення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а Х на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ктовани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Х.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ктований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актор Х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еретворює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отромбі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на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омбі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ісля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чого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омбі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еретворює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ібриноге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на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ібрин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у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езультаті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900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утворюється</a:t>
            </a:r>
            <a:r>
              <a:rPr lang="ru-RU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тромб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8CB4C2-B0BE-4AA9-B11B-C5A9539E0418}"/>
              </a:ext>
            </a:extLst>
          </p:cNvPr>
          <p:cNvSpPr txBox="1"/>
          <p:nvPr/>
        </p:nvSpPr>
        <p:spPr>
          <a:xfrm>
            <a:off x="182853" y="705987"/>
            <a:ext cx="8109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Будова та </a:t>
            </a:r>
            <a:r>
              <a:rPr lang="ru-RU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еханізм</a:t>
            </a:r>
            <a:r>
              <a:rPr lang="ru-RU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ії</a:t>
            </a:r>
            <a:endParaRPr lang="en-GB" b="1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E081A45-8DF2-445F-8E9F-B3A23812425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9664" y="1025906"/>
            <a:ext cx="7204667" cy="2544294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CACF0C3B-2110-4E0A-9691-84A2618F7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305" y="153881"/>
            <a:ext cx="8689842" cy="693072"/>
          </a:xfrm>
        </p:spPr>
        <p:txBody>
          <a:bodyPr/>
          <a:lstStyle/>
          <a:p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</a:t>
            </a:r>
            <a:r>
              <a:rPr lang="ru-RU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йт</a:t>
            </a:r>
            <a:r>
              <a:rPr lang="ru-RU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- </a:t>
            </a:r>
            <a:r>
              <a:rPr lang="en-GB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turoctocog</a:t>
            </a:r>
            <a:r>
              <a:rPr lang="en-GB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en-GB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f</a:t>
            </a:r>
            <a:r>
              <a:rPr lang="ru-RU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I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C0DCC1-5A00-40AA-9883-79B15EAD5A31}"/>
              </a:ext>
            </a:extLst>
          </p:cNvPr>
          <p:cNvSpPr/>
          <p:nvPr/>
        </p:nvSpPr>
        <p:spPr>
          <a:xfrm>
            <a:off x="729762" y="3436416"/>
            <a:ext cx="954593" cy="22118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AA2B58-A3E2-46C6-A880-437C59AB4D01}"/>
              </a:ext>
            </a:extLst>
          </p:cNvPr>
          <p:cNvSpPr txBox="1"/>
          <p:nvPr/>
        </p:nvSpPr>
        <p:spPr>
          <a:xfrm>
            <a:off x="1047656" y="4790784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Ейт® </a:t>
            </a:r>
            <a:endParaRPr lang="en-GB" sz="788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5EE7CC-D95B-41B7-9E5D-3E4A44632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3780" y="67451"/>
            <a:ext cx="2591025" cy="176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4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67D9A62-E5A5-BFA8-AEF5-1A6DB47CD1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290" y="1215602"/>
            <a:ext cx="8712900" cy="295578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uk-UA" b="1" i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 за потребою</a:t>
            </a:r>
          </a:p>
          <a:p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зрахунок необхідної дози фактора </a:t>
            </a:r>
            <a:r>
              <a:rPr lang="da-DK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базується на емпіричному результаті, згідно з яким 1 міжнародна одиниця (МО) фактора </a:t>
            </a:r>
            <a:r>
              <a:rPr lang="da-DK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а 1 кг маси тіла підвищує активність фактора </a:t>
            </a:r>
            <a:r>
              <a:rPr lang="da-DK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 плазмі крові на 2 МО/дл. Необхідну дозу визначають за такою формулою:</a:t>
            </a:r>
          </a:p>
          <a:p>
            <a:r>
              <a:rPr lang="uk-UA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еобхідна кількість одиниць = маса тіла (кг) × бажане підвищення рівня фактора </a:t>
            </a:r>
            <a:r>
              <a:rPr lang="da-DK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(%) (</a:t>
            </a:r>
            <a:r>
              <a:rPr lang="uk-UA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/дл) × 0,5 (МО/кг на 1 МО/дл).</a:t>
            </a:r>
          </a:p>
          <a:p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ількість, яку необхідно ввести, та частоту застосування завжди потрібно визначати у кожному випадку індивідуально, орієнтуючись на клінічну ефективність.</a:t>
            </a:r>
          </a:p>
          <a:p>
            <a:endParaRPr lang="uk-U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77A390-0776-CAAE-6783-FADCFC928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0" y="410680"/>
            <a:ext cx="8510400" cy="391412"/>
          </a:xfrm>
        </p:spPr>
        <p:txBody>
          <a:bodyPr/>
          <a:lstStyle/>
          <a:p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зрахунок дози НовоЕйт</a:t>
            </a:r>
            <a:r>
              <a:rPr lang="uk-UA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 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E850FB-8718-42D3-50C7-DD74642F75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29B1CB-DD8C-6DF9-0AF5-444A1347D5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06C7C-ED57-5628-C5CE-1F8DCC6FB5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6</a:t>
            </a:fld>
            <a:endParaRPr lang="en-GB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67E9B6-AA4B-BFCC-D31A-0E18229E93D5}"/>
              </a:ext>
            </a:extLst>
          </p:cNvPr>
          <p:cNvSpPr txBox="1"/>
          <p:nvPr/>
        </p:nvSpPr>
        <p:spPr>
          <a:xfrm>
            <a:off x="1047656" y="4790784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Ейт® </a:t>
            </a:r>
            <a:endParaRPr lang="en-GB" sz="788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04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C5FD9ED-CBFA-D66D-624F-FFF725A59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0" y="1066801"/>
            <a:ext cx="8510400" cy="32012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i="1" dirty="0" err="1"/>
              <a:t>Профілактика</a:t>
            </a:r>
            <a:endParaRPr lang="ru-RU" b="1" i="1" dirty="0"/>
          </a:p>
          <a:p>
            <a:pPr marL="0" indent="0">
              <a:buNone/>
            </a:pPr>
            <a:endParaRPr lang="ru-RU" b="1" i="1" dirty="0"/>
          </a:p>
          <a:p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ля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вготривалої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офілактики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отеч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у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ацієнтів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тяжкою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філією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А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вичайна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рекомендована доза становить 20−40 МО фактора VIII на 1 кг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аси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іла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через день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20−50 МО фактора VIII на 1 кг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аси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іла</a:t>
            </a:r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3 рази на </a:t>
            </a:r>
            <a:r>
              <a:rPr lang="ru-RU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иждень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</a:t>
            </a:r>
          </a:p>
          <a:p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У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рослих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і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ідлітків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ком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над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12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ків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схема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ийому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же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ередбачати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енш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часте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стосування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репарату (40–60 МО/кг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ожний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етій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ень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вічі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на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иждень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.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оді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особливо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ацієнтам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лодшого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іку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,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ожуть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бути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еобхідними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оротші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тервали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іж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веденням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репарату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ищі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ози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</a:p>
          <a:p>
            <a:endParaRPr lang="uk-U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42907A-757F-D6C9-DC89-5C6239A979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20E051-ED96-8A83-0676-FCA2D27B98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CACC98-AA70-1FB1-95A6-D6B86AA6C5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7</a:t>
            </a:fld>
            <a:endParaRPr lang="en-GB" noProof="0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85F1661E-706F-3DAA-A0A4-E7683CFA2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515938"/>
            <a:ext cx="8509000" cy="390525"/>
          </a:xfrm>
        </p:spPr>
        <p:txBody>
          <a:bodyPr/>
          <a:lstStyle/>
          <a:p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зрахунок дози НовоЕйт</a:t>
            </a:r>
            <a:r>
              <a:rPr lang="uk-UA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uk-UA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C92787-0E55-FB25-D45A-E29D2A1BC6B5}"/>
              </a:ext>
            </a:extLst>
          </p:cNvPr>
          <p:cNvSpPr txBox="1"/>
          <p:nvPr/>
        </p:nvSpPr>
        <p:spPr>
          <a:xfrm>
            <a:off x="1047656" y="4790784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до лікарського засобу НовоЕйт® </a:t>
            </a:r>
            <a:endParaRPr lang="en-GB" sz="788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00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028F2C-94B5-44A9-87B4-1085442F85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34B00-726F-4558-8199-4BBC57FE95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8</a:t>
            </a:fld>
            <a:endParaRPr lang="en-GB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FCE0703-64DC-410C-AA79-CF2DEBE0F5D0}"/>
              </a:ext>
            </a:extLst>
          </p:cNvPr>
          <p:cNvSpPr/>
          <p:nvPr/>
        </p:nvSpPr>
        <p:spPr>
          <a:xfrm>
            <a:off x="322963" y="959915"/>
            <a:ext cx="837502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струкція</a:t>
            </a:r>
            <a:r>
              <a:rPr lang="ru-RU" sz="1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о </a:t>
            </a:r>
            <a:r>
              <a:rPr lang="ru-RU" sz="1400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едичного</a:t>
            </a:r>
            <a:r>
              <a:rPr lang="ru-RU" sz="1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икористання</a:t>
            </a:r>
            <a:r>
              <a:rPr lang="ru-RU" sz="1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репарату</a:t>
            </a:r>
            <a:endParaRPr lang="en-US" sz="1400" b="1" dirty="0">
              <a:solidFill>
                <a:schemeClr val="tx2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 </a:t>
            </a:r>
            <a:endParaRPr lang="ru-RU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uk-UA" sz="1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Склад</a:t>
            </a:r>
            <a:endParaRPr lang="en-US" sz="1400" b="1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uk-UA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іюча речовина: е</a:t>
            </a:r>
            <a:r>
              <a:rPr lang="en-GB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ptacog</a:t>
            </a:r>
            <a:r>
              <a:rPr lang="en-GB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alfa (activated) (</a:t>
            </a:r>
            <a:r>
              <a:rPr lang="en-GB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en-GB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;</a:t>
            </a:r>
            <a:endParaRPr lang="ru-RU" sz="14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endParaRPr lang="ru-RU" sz="14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1400" b="1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арська</a:t>
            </a:r>
            <a:r>
              <a:rPr lang="ru-RU" sz="1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форма</a:t>
            </a:r>
            <a:endParaRPr lang="ru-RU" sz="14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офілізований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орошок та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зчинник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ля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иготування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озчину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ля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'єкцій</a:t>
            </a:r>
            <a:endParaRPr lang="ru-RU" sz="1400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endParaRPr lang="ru-RU" b="0" i="0" dirty="0">
              <a:solidFill>
                <a:srgbClr val="002060"/>
              </a:solidFill>
              <a:effectLst/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1400" b="1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армакотерапевтична</a:t>
            </a:r>
            <a:r>
              <a:rPr lang="ru-RU" sz="1400" b="1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рупа</a:t>
            </a:r>
            <a:endParaRPr lang="ru-RU" sz="1400" b="1" dirty="0">
              <a:solidFill>
                <a:srgbClr val="002060"/>
              </a:solidFill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статичні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соби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Чинники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гортання </a:t>
            </a:r>
            <a:r>
              <a:rPr lang="ru-RU" sz="1400" dirty="0" err="1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і</a:t>
            </a:r>
            <a:r>
              <a:rPr lang="ru-RU" sz="1400" dirty="0">
                <a:solidFill>
                  <a:srgbClr val="002060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</a:p>
          <a:p>
            <a:endParaRPr lang="en-GB" sz="1400" b="0" i="0" dirty="0">
              <a:solidFill>
                <a:srgbClr val="002060"/>
              </a:solidFill>
              <a:effectLst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625F12-F0A3-4E78-9CE9-AAEB97F55F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5753" y="170771"/>
            <a:ext cx="2591025" cy="17679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DB91C7A-AC16-4E58-B949-CE511C5686DD}"/>
              </a:ext>
            </a:extLst>
          </p:cNvPr>
          <p:cNvSpPr txBox="1"/>
          <p:nvPr/>
        </p:nvSpPr>
        <p:spPr>
          <a:xfrm>
            <a:off x="316638" y="335882"/>
            <a:ext cx="83750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err="1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севен</a:t>
            </a:r>
            <a:r>
              <a:rPr lang="ru-RU" sz="2400" b="1" baseline="300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sz="2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en-US" sz="2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NOVOSEVEN</a:t>
            </a:r>
            <a:r>
              <a:rPr lang="ru-RU" sz="2400" b="1" baseline="300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®</a:t>
            </a:r>
            <a:r>
              <a:rPr lang="ru-RU" sz="2400" b="1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endParaRPr lang="en-GB" sz="2400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ADCD01-AEB7-4A78-A1BD-3C0A88D8E458}"/>
              </a:ext>
            </a:extLst>
          </p:cNvPr>
          <p:cNvSpPr txBox="1"/>
          <p:nvPr/>
        </p:nvSpPr>
        <p:spPr>
          <a:xfrm>
            <a:off x="1047656" y="4700825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СЕВЕН® 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UA/5178/01/04</a:t>
            </a:r>
          </a:p>
        </p:txBody>
      </p:sp>
    </p:spTree>
    <p:extLst>
      <p:ext uri="{BB962C8B-B14F-4D97-AF65-F5344CB8AC3E}">
        <p14:creationId xmlns:p14="http://schemas.microsoft.com/office/powerpoint/2010/main" val="2623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1656911-1D96-4F96-8D90-CF5CF9B56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800" y="803868"/>
            <a:ext cx="8510400" cy="3466681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ru-RU" sz="2400" b="1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окази</a:t>
            </a:r>
            <a:r>
              <a:rPr lang="ru-RU" sz="2400" b="1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</a:p>
          <a:p>
            <a:pPr marL="0" indent="0">
              <a:buNone/>
            </a:pPr>
            <a:endParaRPr lang="ru-RU" sz="2400" b="1" u="sng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Лікуванн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кровотеч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та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їх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рофілактика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ри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хірургічних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тручаннях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ших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вазивних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процедурах у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ацієнтів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такими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хворюваннями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:</a:t>
            </a:r>
          </a:p>
          <a:p>
            <a:pPr marL="0" indent="0">
              <a:buNone/>
            </a:pPr>
            <a:endParaRPr lang="ru-RU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роджена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філі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івнем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інгібіторів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о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акторів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гортання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X&gt;5BU;</a:t>
            </a:r>
          </a:p>
          <a:p>
            <a:pPr marL="0" indent="0">
              <a:buNone/>
            </a:pPr>
            <a:endParaRPr lang="da-DK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роджена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філі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з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ираженою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еакцією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на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запровадженн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акторів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I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X 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намнезі</a:t>
            </a:r>
            <a:endParaRPr lang="ru-RU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pPr marL="0" indent="0">
              <a:buNone/>
            </a:pPr>
            <a:endParaRPr lang="ru-RU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абута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емофілі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;</a:t>
            </a:r>
          </a:p>
          <a:p>
            <a:pPr marL="0" indent="0">
              <a:buNone/>
            </a:pPr>
            <a:endParaRPr lang="ru-RU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роджений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дефіцит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VII 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фактора;</a:t>
            </a:r>
          </a:p>
          <a:p>
            <a:pPr marL="0" indent="0">
              <a:buNone/>
            </a:pPr>
            <a:endParaRPr lang="ru-RU" sz="2175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  <a:p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омбастені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Гланцмана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* з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нтитілами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о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GP IIb-IIIa 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а/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або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da-DK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HLA 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а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резистентністю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до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переливання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омбоцитів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у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минулому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чи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sz="2175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ині</a:t>
            </a:r>
            <a:r>
              <a:rPr lang="ru-RU" sz="2175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.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161B9C-41DB-4AB3-A7F2-8DE9FB9F1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053" y="182416"/>
            <a:ext cx="8689842" cy="693072"/>
          </a:xfrm>
        </p:spPr>
        <p:txBody>
          <a:bodyPr/>
          <a:lstStyle/>
          <a:p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НовоСевен</a:t>
            </a:r>
            <a:r>
              <a:rPr lang="ru-RU" baseline="30000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®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-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еptacog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lf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activated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 (</a:t>
            </a:r>
            <a:r>
              <a:rPr lang="ru-RU" dirty="0" err="1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rFVIIa</a:t>
            </a:r>
            <a:r>
              <a:rPr lang="ru-RU" dirty="0"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)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CA07A5-C606-4A46-A8B7-09470866B732}"/>
              </a:ext>
            </a:extLst>
          </p:cNvPr>
          <p:cNvSpPr txBox="1"/>
          <p:nvPr/>
        </p:nvSpPr>
        <p:spPr>
          <a:xfrm>
            <a:off x="1037608" y="4929915"/>
            <a:ext cx="8317685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788" dirty="0">
                <a:solidFill>
                  <a:schemeClr val="bg1">
                    <a:lumMod val="50000"/>
                  </a:schemeClr>
                </a:solidFill>
              </a:rPr>
              <a:t>Інструкція НОВОСЕВЕН®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UA/5178/01/0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D5DC97-4249-4DC5-9186-E0781996A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7765" y="74217"/>
            <a:ext cx="2591025" cy="1767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DA62327-2555-4AAC-B2A0-3FE9A2FD239F}"/>
              </a:ext>
            </a:extLst>
          </p:cNvPr>
          <p:cNvSpPr/>
          <p:nvPr/>
        </p:nvSpPr>
        <p:spPr>
          <a:xfrm>
            <a:off x="312053" y="4290645"/>
            <a:ext cx="76512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900" dirty="0">
                <a:solidFill>
                  <a:schemeClr val="tx2"/>
                </a:solidFill>
              </a:rPr>
              <a:t>*</a:t>
            </a:r>
            <a:r>
              <a:rPr lang="uk-UA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Тромбастенія гланцмана - відсутність або дефект мембранного рецептора до фібриногену та глікопротеїнів </a:t>
            </a:r>
            <a:r>
              <a:rPr lang="da-DK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IIb – IIIa </a:t>
            </a:r>
            <a:r>
              <a:rPr lang="uk-UA" sz="900" dirty="0">
                <a:solidFill>
                  <a:schemeClr val="tx2"/>
                </a:solidFill>
                <a:latin typeface="Apis For Office" panose="020B0504010101010104" pitchFamily="34" charset="0"/>
                <a:ea typeface="Apis For Office" panose="020B0504010101010104" pitchFamily="34" charset="0"/>
                <a:cs typeface="Apis For Office" panose="020B0504010101010104" pitchFamily="34" charset="0"/>
              </a:rPr>
              <a:t>внаслідок чого порушується агрегація тромбоцитів.</a:t>
            </a:r>
            <a:endParaRPr lang="en-GB" dirty="0">
              <a:latin typeface="Apis For Office" panose="020B0504010101010104" pitchFamily="34" charset="0"/>
              <a:ea typeface="Apis For Office" panose="020B0504010101010104" pitchFamily="34" charset="0"/>
              <a:cs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1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250311025826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heme/theme1.xml><?xml version="1.0" encoding="utf-8"?>
<a:theme xmlns:a="http://schemas.openxmlformats.org/drawingml/2006/main" name="NN_Neutral_16-9">
  <a:themeElements>
    <a:clrScheme name="Novo Nordisk 2017">
      <a:dk1>
        <a:srgbClr val="000000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Novo Nordis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name="Presentation2" id="{5C0A9369-9F36-45FB-B335-56FAA532ECBC}" vid="{A8C25DB1-287C-4574-AD20-8482BDDF481B}"/>
    </a:ext>
  </a:extLst>
</a:theme>
</file>

<file path=ppt/theme/theme2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NN 2012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Changing Haemophilia presentation--03</Template>
  <TotalTime>10184</TotalTime>
  <Words>910</Words>
  <Application>Microsoft Office PowerPoint</Application>
  <PresentationFormat>On-screen Show (16:9)</PresentationFormat>
  <Paragraphs>108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pis For Office</vt:lpstr>
      <vt:lpstr>Arial</vt:lpstr>
      <vt:lpstr>Verdana</vt:lpstr>
      <vt:lpstr>NN_Neutral_16-9</vt:lpstr>
      <vt:lpstr>think-cell Slide</vt:lpstr>
      <vt:lpstr>Препарати для лікування гемофілії А та гемофілії, що ускладнена інгібіторами  </vt:lpstr>
      <vt:lpstr>Зміст</vt:lpstr>
      <vt:lpstr>НовоЕйт ® (туроктоког альфа) </vt:lpstr>
      <vt:lpstr>НовоЕйт® - turoctocog alfа (rFVIII) </vt:lpstr>
      <vt:lpstr>НовоЕйт® - turoctocog alfа (rFVIII)</vt:lpstr>
      <vt:lpstr>Розрахунок дози НовоЕйт®  </vt:lpstr>
      <vt:lpstr>Розрахунок дози НовоЕйт®  </vt:lpstr>
      <vt:lpstr>PowerPoint Presentation</vt:lpstr>
      <vt:lpstr>НовоСевен® - еptacog alfa (activated) (rFVIIa)</vt:lpstr>
      <vt:lpstr>PowerPoint Presentation</vt:lpstr>
      <vt:lpstr>rFVIIa механізм дії</vt:lpstr>
      <vt:lpstr> Рекомендоване дозування та схема терапії </vt:lpstr>
    </vt:vector>
  </TitlesOfParts>
  <Company>Novo Nordisk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QJ (Anders Børup Jepsen)</dc:creator>
  <cp:lastModifiedBy>NARH (Anna Rabocha)</cp:lastModifiedBy>
  <cp:revision>237</cp:revision>
  <dcterms:created xsi:type="dcterms:W3CDTF">2019-08-27T11:26:40Z</dcterms:created>
  <dcterms:modified xsi:type="dcterms:W3CDTF">2023-09-16T16:06:21Z</dcterms:modified>
  <cp:category>PP Template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8-08-21T14:43:30.0495386Z</vt:lpwstr>
  </property>
  <property fmtid="{D5CDD505-2E9C-101B-9397-08002B2CF9AE}" pid="3" name="CustomerId">
    <vt:lpwstr>novonordisk</vt:lpwstr>
  </property>
  <property fmtid="{D5CDD505-2E9C-101B-9397-08002B2CF9AE}" pid="4" name="TemplateId">
    <vt:lpwstr>636656073531651977</vt:lpwstr>
  </property>
  <property fmtid="{D5CDD505-2E9C-101B-9397-08002B2CF9AE}" pid="5" name="UserProfileId">
    <vt:lpwstr>637033598778618880</vt:lpwstr>
  </property>
</Properties>
</file>